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2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3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4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40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1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61" r:id="rId8"/>
    <p:sldId id="1993" r:id="rId9"/>
    <p:sldId id="1945" r:id="rId10"/>
    <p:sldId id="1962" r:id="rId11"/>
    <p:sldId id="1994" r:id="rId12"/>
    <p:sldId id="1964" r:id="rId13"/>
    <p:sldId id="1995" r:id="rId14"/>
    <p:sldId id="1966" r:id="rId15"/>
    <p:sldId id="1980" r:id="rId16"/>
    <p:sldId id="1981" r:id="rId17"/>
    <p:sldId id="1982" r:id="rId18"/>
    <p:sldId id="1983" r:id="rId19"/>
    <p:sldId id="1984" r:id="rId20"/>
    <p:sldId id="1985" r:id="rId21"/>
    <p:sldId id="1986" r:id="rId22"/>
    <p:sldId id="1987" r:id="rId23"/>
    <p:sldId id="1988" r:id="rId24"/>
    <p:sldId id="1989" r:id="rId25"/>
    <p:sldId id="1990" r:id="rId26"/>
    <p:sldId id="1991" r:id="rId27"/>
    <p:sldId id="1942" r:id="rId28"/>
    <p:sldId id="1474" r:id="rId29"/>
    <p:sldId id="1481" r:id="rId30"/>
    <p:sldId id="1482" r:id="rId31"/>
    <p:sldId id="1475" r:id="rId32"/>
    <p:sldId id="1483" r:id="rId33"/>
    <p:sldId id="1923" r:id="rId34"/>
    <p:sldId id="1476" r:id="rId35"/>
    <p:sldId id="1523" r:id="rId36"/>
    <p:sldId id="1524" r:id="rId37"/>
    <p:sldId id="1595" r:id="rId38"/>
    <p:sldId id="1639" r:id="rId39"/>
    <p:sldId id="1802" r:id="rId40"/>
    <p:sldId id="1829" r:id="rId41"/>
    <p:sldId id="1823" r:id="rId42"/>
    <p:sldId id="1845" r:id="rId43"/>
    <p:sldId id="1864" r:id="rId44"/>
    <p:sldId id="1866" r:id="rId45"/>
    <p:sldId id="1886" r:id="rId46"/>
    <p:sldId id="1528" r:id="rId47"/>
    <p:sldId id="1530" r:id="rId48"/>
    <p:sldId id="1571" r:id="rId49"/>
    <p:sldId id="1572" r:id="rId50"/>
    <p:sldId id="1596" r:id="rId51"/>
    <p:sldId id="1615" r:id="rId52"/>
    <p:sldId id="1617" r:id="rId53"/>
    <p:sldId id="1641" r:id="rId54"/>
    <p:sldId id="1784" r:id="rId55"/>
    <p:sldId id="1804" r:id="rId56"/>
    <p:sldId id="1888" r:id="rId57"/>
    <p:sldId id="1907" r:id="rId58"/>
    <p:sldId id="1592" r:id="rId59"/>
    <p:sldId id="1593" r:id="rId60"/>
  </p:sldIdLst>
  <p:sldSz cx="12192000" cy="6858000"/>
  <p:notesSz cx="6858000" cy="9144000"/>
  <p:custDataLst>
    <p:tags r:id="rId62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000FF"/>
    <a:srgbClr val="FCE34E"/>
    <a:srgbClr val="FFFF00"/>
    <a:srgbClr val="E4F828"/>
    <a:srgbClr val="000000"/>
    <a:srgbClr val="00FF00"/>
    <a:srgbClr val="FF9966"/>
    <a:srgbClr val="FF9933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599" autoAdjust="0"/>
    <p:restoredTop sz="96400" autoAdjust="0"/>
  </p:normalViewPr>
  <p:slideViewPr>
    <p:cSldViewPr snapToGrid="0">
      <p:cViewPr varScale="1">
        <p:scale>
          <a:sx n="104" d="100"/>
          <a:sy n="104" d="100"/>
        </p:scale>
        <p:origin x="348" y="10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commentAuthors" Target="comment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O$1</c:f>
              <c:strCache>
                <c:ptCount val="92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  <c:pt idx="82">
                  <c:v>22.11.–28.11.</c:v>
                </c:pt>
                <c:pt idx="83">
                  <c:v>29.11.–5.12.</c:v>
                </c:pt>
                <c:pt idx="84">
                  <c:v>6.12.–12.12.</c:v>
                </c:pt>
                <c:pt idx="85">
                  <c:v>13.12.–19.12.</c:v>
                </c:pt>
                <c:pt idx="86">
                  <c:v>20.12.–26.12.</c:v>
                </c:pt>
                <c:pt idx="87">
                  <c:v>27.12.–2.1.</c:v>
                </c:pt>
                <c:pt idx="88">
                  <c:v>3.1.–9.1.</c:v>
                </c:pt>
                <c:pt idx="89">
                  <c:v>10.1.–16.1.</c:v>
                </c:pt>
                <c:pt idx="90">
                  <c:v>17.1.–23.1.</c:v>
                </c:pt>
                <c:pt idx="91">
                  <c:v>24.1.–30.1.</c:v>
                </c:pt>
              </c:strCache>
            </c:strRef>
          </c:cat>
          <c:val>
            <c:numRef>
              <c:f>List1!$B$2:$CO$2</c:f>
              <c:numCache>
                <c:formatCode>General</c:formatCode>
                <c:ptCount val="92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65</c:v>
                </c:pt>
                <c:pt idx="79">
                  <c:v>313</c:v>
                </c:pt>
                <c:pt idx="80">
                  <c:v>90</c:v>
                </c:pt>
                <c:pt idx="81">
                  <c:v>107</c:v>
                </c:pt>
                <c:pt idx="82">
                  <c:v>119</c:v>
                </c:pt>
                <c:pt idx="83">
                  <c:v>105</c:v>
                </c:pt>
                <c:pt idx="84">
                  <c:v>173</c:v>
                </c:pt>
                <c:pt idx="85">
                  <c:v>106</c:v>
                </c:pt>
                <c:pt idx="86">
                  <c:v>70</c:v>
                </c:pt>
                <c:pt idx="87">
                  <c:v>154</c:v>
                </c:pt>
                <c:pt idx="88">
                  <c:v>46</c:v>
                </c:pt>
                <c:pt idx="89">
                  <c:v>28</c:v>
                </c:pt>
                <c:pt idx="90">
                  <c:v>191</c:v>
                </c:pt>
                <c:pt idx="91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9988794621418281</c:v>
                </c:pt>
                <c:pt idx="1">
                  <c:v>1.120537858171922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2.6849345794777161E-2"/>
                  <c:y val="4.31646164634209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6102019637582816</c:v>
                </c:pt>
                <c:pt idx="1">
                  <c:v>0.138979803624171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92001370019408613</c:v>
                </c:pt>
                <c:pt idx="1">
                  <c:v>7.99862998059139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16</c:f>
              <c:numCache>
                <c:formatCode>m/d/yyyy</c:formatCode>
                <c:ptCount val="5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</c:numCache>
            </c:numRef>
          </c:cat>
          <c:val>
            <c:numRef>
              <c:f>List1!$B$2:$B$516</c:f>
              <c:numCache>
                <c:formatCode>General</c:formatCode>
                <c:ptCount val="515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4</c:v>
                </c:pt>
                <c:pt idx="15">
                  <c:v>14</c:v>
                </c:pt>
                <c:pt idx="16">
                  <c:v>14</c:v>
                </c:pt>
                <c:pt idx="17">
                  <c:v>16</c:v>
                </c:pt>
                <c:pt idx="18">
                  <c:v>17</c:v>
                </c:pt>
                <c:pt idx="19">
                  <c:v>20</c:v>
                </c:pt>
                <c:pt idx="20">
                  <c:v>21</c:v>
                </c:pt>
                <c:pt idx="21">
                  <c:v>21</c:v>
                </c:pt>
                <c:pt idx="22">
                  <c:v>22</c:v>
                </c:pt>
                <c:pt idx="23">
                  <c:v>25</c:v>
                </c:pt>
                <c:pt idx="24">
                  <c:v>26</c:v>
                </c:pt>
                <c:pt idx="25">
                  <c:v>31</c:v>
                </c:pt>
                <c:pt idx="26">
                  <c:v>36</c:v>
                </c:pt>
                <c:pt idx="27">
                  <c:v>39</c:v>
                </c:pt>
                <c:pt idx="28">
                  <c:v>44</c:v>
                </c:pt>
                <c:pt idx="29">
                  <c:v>72</c:v>
                </c:pt>
                <c:pt idx="30">
                  <c:v>103</c:v>
                </c:pt>
                <c:pt idx="31">
                  <c:v>165</c:v>
                </c:pt>
                <c:pt idx="32">
                  <c:v>201</c:v>
                </c:pt>
                <c:pt idx="33">
                  <c:v>255</c:v>
                </c:pt>
                <c:pt idx="34">
                  <c:v>422</c:v>
                </c:pt>
                <c:pt idx="35">
                  <c:v>504</c:v>
                </c:pt>
                <c:pt idx="36">
                  <c:v>549</c:v>
                </c:pt>
                <c:pt idx="37">
                  <c:v>627</c:v>
                </c:pt>
                <c:pt idx="38">
                  <c:v>766</c:v>
                </c:pt>
                <c:pt idx="39">
                  <c:v>796</c:v>
                </c:pt>
                <c:pt idx="40">
                  <c:v>809</c:v>
                </c:pt>
                <c:pt idx="41">
                  <c:v>947</c:v>
                </c:pt>
                <c:pt idx="42">
                  <c:v>1171</c:v>
                </c:pt>
                <c:pt idx="43">
                  <c:v>1352</c:v>
                </c:pt>
                <c:pt idx="44">
                  <c:v>1547</c:v>
                </c:pt>
                <c:pt idx="45">
                  <c:v>1752</c:v>
                </c:pt>
                <c:pt idx="46">
                  <c:v>1907</c:v>
                </c:pt>
                <c:pt idx="47">
                  <c:v>1948</c:v>
                </c:pt>
                <c:pt idx="48">
                  <c:v>2190</c:v>
                </c:pt>
                <c:pt idx="49">
                  <c:v>2390</c:v>
                </c:pt>
                <c:pt idx="50">
                  <c:v>2716</c:v>
                </c:pt>
                <c:pt idx="51">
                  <c:v>2944</c:v>
                </c:pt>
                <c:pt idx="52">
                  <c:v>3362</c:v>
                </c:pt>
                <c:pt idx="53">
                  <c:v>3589</c:v>
                </c:pt>
                <c:pt idx="54">
                  <c:v>3784</c:v>
                </c:pt>
                <c:pt idx="55">
                  <c:v>4171</c:v>
                </c:pt>
                <c:pt idx="56">
                  <c:v>4694</c:v>
                </c:pt>
                <c:pt idx="57">
                  <c:v>4955</c:v>
                </c:pt>
                <c:pt idx="58">
                  <c:v>5495</c:v>
                </c:pt>
                <c:pt idx="59">
                  <c:v>6083</c:v>
                </c:pt>
                <c:pt idx="60">
                  <c:v>6420</c:v>
                </c:pt>
                <c:pt idx="61">
                  <c:v>6633</c:v>
                </c:pt>
                <c:pt idx="62">
                  <c:v>6965</c:v>
                </c:pt>
                <c:pt idx="63">
                  <c:v>7297</c:v>
                </c:pt>
                <c:pt idx="64">
                  <c:v>7721</c:v>
                </c:pt>
                <c:pt idx="65">
                  <c:v>8255</c:v>
                </c:pt>
                <c:pt idx="66">
                  <c:v>8745</c:v>
                </c:pt>
                <c:pt idx="67">
                  <c:v>8960</c:v>
                </c:pt>
                <c:pt idx="68">
                  <c:v>9038</c:v>
                </c:pt>
                <c:pt idx="69">
                  <c:v>9243</c:v>
                </c:pt>
                <c:pt idx="70">
                  <c:v>9628</c:v>
                </c:pt>
                <c:pt idx="71">
                  <c:v>10305</c:v>
                </c:pt>
                <c:pt idx="72">
                  <c:v>10804</c:v>
                </c:pt>
                <c:pt idx="73">
                  <c:v>11287</c:v>
                </c:pt>
                <c:pt idx="74">
                  <c:v>11467</c:v>
                </c:pt>
                <c:pt idx="75">
                  <c:v>11633</c:v>
                </c:pt>
                <c:pt idx="76">
                  <c:v>12018</c:v>
                </c:pt>
                <c:pt idx="77">
                  <c:v>12157</c:v>
                </c:pt>
                <c:pt idx="78">
                  <c:v>12425</c:v>
                </c:pt>
                <c:pt idx="79">
                  <c:v>12694</c:v>
                </c:pt>
                <c:pt idx="80">
                  <c:v>12934</c:v>
                </c:pt>
                <c:pt idx="81">
                  <c:v>13028</c:v>
                </c:pt>
                <c:pt idx="82">
                  <c:v>13119</c:v>
                </c:pt>
                <c:pt idx="83">
                  <c:v>13499</c:v>
                </c:pt>
                <c:pt idx="84">
                  <c:v>13698</c:v>
                </c:pt>
                <c:pt idx="85">
                  <c:v>13824</c:v>
                </c:pt>
                <c:pt idx="86">
                  <c:v>14019</c:v>
                </c:pt>
                <c:pt idx="87">
                  <c:v>14158</c:v>
                </c:pt>
                <c:pt idx="88">
                  <c:v>14236</c:v>
                </c:pt>
                <c:pt idx="89">
                  <c:v>14264</c:v>
                </c:pt>
                <c:pt idx="90">
                  <c:v>14477</c:v>
                </c:pt>
                <c:pt idx="91">
                  <c:v>14601</c:v>
                </c:pt>
                <c:pt idx="92">
                  <c:v>14734</c:v>
                </c:pt>
                <c:pt idx="93">
                  <c:v>14863</c:v>
                </c:pt>
                <c:pt idx="94">
                  <c:v>15006</c:v>
                </c:pt>
                <c:pt idx="95">
                  <c:v>15095</c:v>
                </c:pt>
                <c:pt idx="96">
                  <c:v>15115</c:v>
                </c:pt>
                <c:pt idx="97">
                  <c:v>15257</c:v>
                </c:pt>
                <c:pt idx="98">
                  <c:v>15346</c:v>
                </c:pt>
                <c:pt idx="99">
                  <c:v>15487</c:v>
                </c:pt>
                <c:pt idx="100">
                  <c:v>15570</c:v>
                </c:pt>
                <c:pt idx="101">
                  <c:v>15800</c:v>
                </c:pt>
                <c:pt idx="102">
                  <c:v>15867</c:v>
                </c:pt>
                <c:pt idx="103">
                  <c:v>15917</c:v>
                </c:pt>
                <c:pt idx="104">
                  <c:v>16065</c:v>
                </c:pt>
                <c:pt idx="105">
                  <c:v>16198</c:v>
                </c:pt>
                <c:pt idx="106">
                  <c:v>16298</c:v>
                </c:pt>
                <c:pt idx="107">
                  <c:v>16366</c:v>
                </c:pt>
                <c:pt idx="108">
                  <c:v>16589</c:v>
                </c:pt>
                <c:pt idx="109">
                  <c:v>16650</c:v>
                </c:pt>
                <c:pt idx="110">
                  <c:v>16671</c:v>
                </c:pt>
                <c:pt idx="111">
                  <c:v>16850</c:v>
                </c:pt>
                <c:pt idx="112">
                  <c:v>17026</c:v>
                </c:pt>
                <c:pt idx="113">
                  <c:v>17148</c:v>
                </c:pt>
                <c:pt idx="114">
                  <c:v>17166</c:v>
                </c:pt>
                <c:pt idx="115">
                  <c:v>17237</c:v>
                </c:pt>
                <c:pt idx="116">
                  <c:v>17315</c:v>
                </c:pt>
                <c:pt idx="117">
                  <c:v>17413</c:v>
                </c:pt>
                <c:pt idx="118">
                  <c:v>17578</c:v>
                </c:pt>
                <c:pt idx="119">
                  <c:v>17763</c:v>
                </c:pt>
                <c:pt idx="120">
                  <c:v>17907</c:v>
                </c:pt>
                <c:pt idx="121">
                  <c:v>18040</c:v>
                </c:pt>
                <c:pt idx="122">
                  <c:v>18105</c:v>
                </c:pt>
                <c:pt idx="123">
                  <c:v>18165</c:v>
                </c:pt>
                <c:pt idx="124">
                  <c:v>18207</c:v>
                </c:pt>
                <c:pt idx="125">
                  <c:v>18476</c:v>
                </c:pt>
                <c:pt idx="126">
                  <c:v>18630</c:v>
                </c:pt>
                <c:pt idx="127">
                  <c:v>18790</c:v>
                </c:pt>
                <c:pt idx="128">
                  <c:v>19022</c:v>
                </c:pt>
                <c:pt idx="129">
                  <c:v>19209</c:v>
                </c:pt>
                <c:pt idx="130">
                  <c:v>19270</c:v>
                </c:pt>
                <c:pt idx="131">
                  <c:v>19301</c:v>
                </c:pt>
                <c:pt idx="132">
                  <c:v>19540</c:v>
                </c:pt>
                <c:pt idx="133">
                  <c:v>19666</c:v>
                </c:pt>
                <c:pt idx="134">
                  <c:v>19841</c:v>
                </c:pt>
                <c:pt idx="135">
                  <c:v>19938</c:v>
                </c:pt>
                <c:pt idx="136">
                  <c:v>20024</c:v>
                </c:pt>
                <c:pt idx="137">
                  <c:v>20059</c:v>
                </c:pt>
                <c:pt idx="138">
                  <c:v>20104</c:v>
                </c:pt>
                <c:pt idx="139">
                  <c:v>20266</c:v>
                </c:pt>
                <c:pt idx="140">
                  <c:v>20345</c:v>
                </c:pt>
                <c:pt idx="141">
                  <c:v>20492</c:v>
                </c:pt>
                <c:pt idx="142">
                  <c:v>20598</c:v>
                </c:pt>
                <c:pt idx="143">
                  <c:v>20714</c:v>
                </c:pt>
                <c:pt idx="144">
                  <c:v>20767</c:v>
                </c:pt>
                <c:pt idx="145">
                  <c:v>20792</c:v>
                </c:pt>
                <c:pt idx="146">
                  <c:v>20876</c:v>
                </c:pt>
                <c:pt idx="147">
                  <c:v>20917</c:v>
                </c:pt>
                <c:pt idx="148">
                  <c:v>21012</c:v>
                </c:pt>
                <c:pt idx="149">
                  <c:v>21079</c:v>
                </c:pt>
                <c:pt idx="150">
                  <c:v>21116</c:v>
                </c:pt>
                <c:pt idx="151">
                  <c:v>21165</c:v>
                </c:pt>
                <c:pt idx="152">
                  <c:v>21175</c:v>
                </c:pt>
                <c:pt idx="153">
                  <c:v>21281</c:v>
                </c:pt>
                <c:pt idx="154">
                  <c:v>21375</c:v>
                </c:pt>
                <c:pt idx="155">
                  <c:v>21477</c:v>
                </c:pt>
                <c:pt idx="156">
                  <c:v>21559</c:v>
                </c:pt>
                <c:pt idx="157">
                  <c:v>21643</c:v>
                </c:pt>
                <c:pt idx="158">
                  <c:v>21687</c:v>
                </c:pt>
                <c:pt idx="159">
                  <c:v>21703</c:v>
                </c:pt>
                <c:pt idx="160">
                  <c:v>21768</c:v>
                </c:pt>
                <c:pt idx="161">
                  <c:v>21834</c:v>
                </c:pt>
                <c:pt idx="162">
                  <c:v>21901</c:v>
                </c:pt>
                <c:pt idx="163">
                  <c:v>21966</c:v>
                </c:pt>
                <c:pt idx="164">
                  <c:v>22019</c:v>
                </c:pt>
                <c:pt idx="165">
                  <c:v>22027</c:v>
                </c:pt>
                <c:pt idx="166">
                  <c:v>22040</c:v>
                </c:pt>
                <c:pt idx="167">
                  <c:v>22077</c:v>
                </c:pt>
                <c:pt idx="168">
                  <c:v>22094</c:v>
                </c:pt>
                <c:pt idx="169">
                  <c:v>22124</c:v>
                </c:pt>
                <c:pt idx="170">
                  <c:v>22152</c:v>
                </c:pt>
                <c:pt idx="171">
                  <c:v>22180</c:v>
                </c:pt>
                <c:pt idx="172">
                  <c:v>22198</c:v>
                </c:pt>
                <c:pt idx="173">
                  <c:v>22203</c:v>
                </c:pt>
                <c:pt idx="174">
                  <c:v>22292</c:v>
                </c:pt>
                <c:pt idx="175">
                  <c:v>22328</c:v>
                </c:pt>
                <c:pt idx="176">
                  <c:v>22362</c:v>
                </c:pt>
                <c:pt idx="177">
                  <c:v>22408</c:v>
                </c:pt>
                <c:pt idx="178">
                  <c:v>22454</c:v>
                </c:pt>
                <c:pt idx="179">
                  <c:v>22464</c:v>
                </c:pt>
                <c:pt idx="180">
                  <c:v>22467</c:v>
                </c:pt>
                <c:pt idx="181">
                  <c:v>22545</c:v>
                </c:pt>
                <c:pt idx="182">
                  <c:v>22573</c:v>
                </c:pt>
                <c:pt idx="183">
                  <c:v>22619</c:v>
                </c:pt>
                <c:pt idx="184">
                  <c:v>22629</c:v>
                </c:pt>
                <c:pt idx="185">
                  <c:v>22652</c:v>
                </c:pt>
                <c:pt idx="186">
                  <c:v>22657</c:v>
                </c:pt>
                <c:pt idx="187">
                  <c:v>22662</c:v>
                </c:pt>
                <c:pt idx="188">
                  <c:v>22689</c:v>
                </c:pt>
                <c:pt idx="189">
                  <c:v>22769</c:v>
                </c:pt>
                <c:pt idx="190">
                  <c:v>22824</c:v>
                </c:pt>
                <c:pt idx="191">
                  <c:v>22836</c:v>
                </c:pt>
                <c:pt idx="192">
                  <c:v>22861</c:v>
                </c:pt>
                <c:pt idx="193">
                  <c:v>22870</c:v>
                </c:pt>
                <c:pt idx="194">
                  <c:v>22876</c:v>
                </c:pt>
                <c:pt idx="195">
                  <c:v>22905</c:v>
                </c:pt>
                <c:pt idx="196">
                  <c:v>22925</c:v>
                </c:pt>
                <c:pt idx="197">
                  <c:v>22932</c:v>
                </c:pt>
                <c:pt idx="198">
                  <c:v>22969</c:v>
                </c:pt>
                <c:pt idx="199">
                  <c:v>22987</c:v>
                </c:pt>
                <c:pt idx="200">
                  <c:v>22996</c:v>
                </c:pt>
                <c:pt idx="201">
                  <c:v>23000</c:v>
                </c:pt>
                <c:pt idx="202">
                  <c:v>23013</c:v>
                </c:pt>
                <c:pt idx="203">
                  <c:v>23043</c:v>
                </c:pt>
                <c:pt idx="204">
                  <c:v>23063</c:v>
                </c:pt>
                <c:pt idx="205">
                  <c:v>23094</c:v>
                </c:pt>
                <c:pt idx="206">
                  <c:v>23100</c:v>
                </c:pt>
                <c:pt idx="207">
                  <c:v>23103</c:v>
                </c:pt>
                <c:pt idx="208">
                  <c:v>23107</c:v>
                </c:pt>
                <c:pt idx="209">
                  <c:v>23128</c:v>
                </c:pt>
                <c:pt idx="210">
                  <c:v>23139</c:v>
                </c:pt>
                <c:pt idx="211">
                  <c:v>23150</c:v>
                </c:pt>
                <c:pt idx="212">
                  <c:v>23159</c:v>
                </c:pt>
                <c:pt idx="213">
                  <c:v>23163</c:v>
                </c:pt>
                <c:pt idx="214">
                  <c:v>23167</c:v>
                </c:pt>
                <c:pt idx="215">
                  <c:v>23169</c:v>
                </c:pt>
                <c:pt idx="216">
                  <c:v>23170</c:v>
                </c:pt>
                <c:pt idx="217">
                  <c:v>23175</c:v>
                </c:pt>
                <c:pt idx="218">
                  <c:v>23193</c:v>
                </c:pt>
                <c:pt idx="219">
                  <c:v>23194</c:v>
                </c:pt>
                <c:pt idx="220">
                  <c:v>23197</c:v>
                </c:pt>
                <c:pt idx="221">
                  <c:v>23198</c:v>
                </c:pt>
                <c:pt idx="222">
                  <c:v>23198</c:v>
                </c:pt>
                <c:pt idx="223">
                  <c:v>23199</c:v>
                </c:pt>
                <c:pt idx="224">
                  <c:v>23201</c:v>
                </c:pt>
                <c:pt idx="225">
                  <c:v>23202</c:v>
                </c:pt>
                <c:pt idx="226">
                  <c:v>23206</c:v>
                </c:pt>
                <c:pt idx="227">
                  <c:v>23207</c:v>
                </c:pt>
                <c:pt idx="228">
                  <c:v>23208</c:v>
                </c:pt>
                <c:pt idx="229">
                  <c:v>23209</c:v>
                </c:pt>
                <c:pt idx="230">
                  <c:v>23214</c:v>
                </c:pt>
                <c:pt idx="231">
                  <c:v>23218</c:v>
                </c:pt>
                <c:pt idx="232">
                  <c:v>23221</c:v>
                </c:pt>
                <c:pt idx="233">
                  <c:v>23230</c:v>
                </c:pt>
                <c:pt idx="234">
                  <c:v>23235</c:v>
                </c:pt>
                <c:pt idx="235">
                  <c:v>23236</c:v>
                </c:pt>
                <c:pt idx="236">
                  <c:v>23236</c:v>
                </c:pt>
                <c:pt idx="237">
                  <c:v>23237</c:v>
                </c:pt>
                <c:pt idx="238">
                  <c:v>23240</c:v>
                </c:pt>
                <c:pt idx="239">
                  <c:v>23241</c:v>
                </c:pt>
                <c:pt idx="240">
                  <c:v>23243</c:v>
                </c:pt>
                <c:pt idx="241">
                  <c:v>23244</c:v>
                </c:pt>
                <c:pt idx="242">
                  <c:v>23244</c:v>
                </c:pt>
                <c:pt idx="243">
                  <c:v>23244</c:v>
                </c:pt>
                <c:pt idx="244">
                  <c:v>23245</c:v>
                </c:pt>
                <c:pt idx="245">
                  <c:v>23245</c:v>
                </c:pt>
                <c:pt idx="246">
                  <c:v>23247</c:v>
                </c:pt>
                <c:pt idx="247">
                  <c:v>23247</c:v>
                </c:pt>
                <c:pt idx="248">
                  <c:v>23248</c:v>
                </c:pt>
                <c:pt idx="249">
                  <c:v>23248</c:v>
                </c:pt>
                <c:pt idx="250">
                  <c:v>23251</c:v>
                </c:pt>
                <c:pt idx="251">
                  <c:v>23256</c:v>
                </c:pt>
                <c:pt idx="252">
                  <c:v>23258</c:v>
                </c:pt>
                <c:pt idx="253">
                  <c:v>23258</c:v>
                </c:pt>
                <c:pt idx="254">
                  <c:v>23260</c:v>
                </c:pt>
                <c:pt idx="255">
                  <c:v>23263</c:v>
                </c:pt>
                <c:pt idx="256">
                  <c:v>23264</c:v>
                </c:pt>
                <c:pt idx="257">
                  <c:v>23264</c:v>
                </c:pt>
                <c:pt idx="258">
                  <c:v>23267</c:v>
                </c:pt>
                <c:pt idx="259">
                  <c:v>23267</c:v>
                </c:pt>
                <c:pt idx="260">
                  <c:v>23269</c:v>
                </c:pt>
                <c:pt idx="261">
                  <c:v>23269</c:v>
                </c:pt>
                <c:pt idx="262">
                  <c:v>23269</c:v>
                </c:pt>
                <c:pt idx="263">
                  <c:v>23269</c:v>
                </c:pt>
                <c:pt idx="264">
                  <c:v>23269</c:v>
                </c:pt>
                <c:pt idx="265">
                  <c:v>23271</c:v>
                </c:pt>
                <c:pt idx="266">
                  <c:v>23271</c:v>
                </c:pt>
                <c:pt idx="267">
                  <c:v>23271</c:v>
                </c:pt>
                <c:pt idx="268">
                  <c:v>23271</c:v>
                </c:pt>
                <c:pt idx="269">
                  <c:v>23271</c:v>
                </c:pt>
                <c:pt idx="270">
                  <c:v>23271</c:v>
                </c:pt>
                <c:pt idx="271">
                  <c:v>23271</c:v>
                </c:pt>
                <c:pt idx="272">
                  <c:v>23271</c:v>
                </c:pt>
                <c:pt idx="273">
                  <c:v>23271</c:v>
                </c:pt>
                <c:pt idx="274">
                  <c:v>23274</c:v>
                </c:pt>
                <c:pt idx="275">
                  <c:v>23275</c:v>
                </c:pt>
                <c:pt idx="276">
                  <c:v>23275</c:v>
                </c:pt>
                <c:pt idx="277">
                  <c:v>23275</c:v>
                </c:pt>
                <c:pt idx="278">
                  <c:v>23275</c:v>
                </c:pt>
                <c:pt idx="279">
                  <c:v>23275</c:v>
                </c:pt>
                <c:pt idx="280">
                  <c:v>23275</c:v>
                </c:pt>
                <c:pt idx="281">
                  <c:v>23275</c:v>
                </c:pt>
                <c:pt idx="282">
                  <c:v>23275</c:v>
                </c:pt>
                <c:pt idx="283">
                  <c:v>23276</c:v>
                </c:pt>
                <c:pt idx="284">
                  <c:v>23276</c:v>
                </c:pt>
                <c:pt idx="285">
                  <c:v>23276</c:v>
                </c:pt>
                <c:pt idx="286">
                  <c:v>23276</c:v>
                </c:pt>
                <c:pt idx="287">
                  <c:v>23276</c:v>
                </c:pt>
                <c:pt idx="288">
                  <c:v>23276</c:v>
                </c:pt>
                <c:pt idx="289">
                  <c:v>23277</c:v>
                </c:pt>
                <c:pt idx="290">
                  <c:v>23277</c:v>
                </c:pt>
                <c:pt idx="291">
                  <c:v>23277</c:v>
                </c:pt>
                <c:pt idx="292">
                  <c:v>23277</c:v>
                </c:pt>
                <c:pt idx="293">
                  <c:v>23277</c:v>
                </c:pt>
                <c:pt idx="294">
                  <c:v>23277</c:v>
                </c:pt>
                <c:pt idx="295">
                  <c:v>23278</c:v>
                </c:pt>
                <c:pt idx="296">
                  <c:v>23279</c:v>
                </c:pt>
                <c:pt idx="297">
                  <c:v>23279</c:v>
                </c:pt>
                <c:pt idx="298">
                  <c:v>23279</c:v>
                </c:pt>
                <c:pt idx="299">
                  <c:v>23279</c:v>
                </c:pt>
                <c:pt idx="300">
                  <c:v>23279</c:v>
                </c:pt>
                <c:pt idx="301">
                  <c:v>23279</c:v>
                </c:pt>
                <c:pt idx="302">
                  <c:v>23279</c:v>
                </c:pt>
                <c:pt idx="303">
                  <c:v>23280</c:v>
                </c:pt>
                <c:pt idx="304">
                  <c:v>23280</c:v>
                </c:pt>
                <c:pt idx="305">
                  <c:v>23280</c:v>
                </c:pt>
                <c:pt idx="306">
                  <c:v>23281</c:v>
                </c:pt>
                <c:pt idx="307">
                  <c:v>23281</c:v>
                </c:pt>
                <c:pt idx="308">
                  <c:v>23281</c:v>
                </c:pt>
                <c:pt idx="309">
                  <c:v>23281</c:v>
                </c:pt>
                <c:pt idx="310">
                  <c:v>23282</c:v>
                </c:pt>
                <c:pt idx="311">
                  <c:v>23282</c:v>
                </c:pt>
                <c:pt idx="312">
                  <c:v>23282</c:v>
                </c:pt>
                <c:pt idx="313">
                  <c:v>23282</c:v>
                </c:pt>
                <c:pt idx="314">
                  <c:v>23282</c:v>
                </c:pt>
                <c:pt idx="315">
                  <c:v>23282</c:v>
                </c:pt>
                <c:pt idx="316">
                  <c:v>23282</c:v>
                </c:pt>
                <c:pt idx="317">
                  <c:v>23282</c:v>
                </c:pt>
                <c:pt idx="318">
                  <c:v>23282</c:v>
                </c:pt>
                <c:pt idx="319">
                  <c:v>23282</c:v>
                </c:pt>
                <c:pt idx="320">
                  <c:v>23282</c:v>
                </c:pt>
                <c:pt idx="321">
                  <c:v>23282</c:v>
                </c:pt>
                <c:pt idx="322">
                  <c:v>23282</c:v>
                </c:pt>
                <c:pt idx="323">
                  <c:v>23282</c:v>
                </c:pt>
                <c:pt idx="324">
                  <c:v>23282</c:v>
                </c:pt>
                <c:pt idx="325">
                  <c:v>23282</c:v>
                </c:pt>
                <c:pt idx="326">
                  <c:v>23283</c:v>
                </c:pt>
                <c:pt idx="327">
                  <c:v>23283</c:v>
                </c:pt>
                <c:pt idx="328">
                  <c:v>23283</c:v>
                </c:pt>
                <c:pt idx="329">
                  <c:v>23283</c:v>
                </c:pt>
                <c:pt idx="330">
                  <c:v>23283</c:v>
                </c:pt>
                <c:pt idx="331">
                  <c:v>23283</c:v>
                </c:pt>
                <c:pt idx="332">
                  <c:v>23283</c:v>
                </c:pt>
                <c:pt idx="333">
                  <c:v>23283</c:v>
                </c:pt>
                <c:pt idx="334">
                  <c:v>23283</c:v>
                </c:pt>
                <c:pt idx="335">
                  <c:v>23283</c:v>
                </c:pt>
                <c:pt idx="336">
                  <c:v>23283</c:v>
                </c:pt>
                <c:pt idx="337">
                  <c:v>23283</c:v>
                </c:pt>
                <c:pt idx="338">
                  <c:v>23283</c:v>
                </c:pt>
                <c:pt idx="339">
                  <c:v>23283</c:v>
                </c:pt>
                <c:pt idx="340">
                  <c:v>23283</c:v>
                </c:pt>
                <c:pt idx="341">
                  <c:v>23283</c:v>
                </c:pt>
                <c:pt idx="342">
                  <c:v>23283</c:v>
                </c:pt>
                <c:pt idx="343">
                  <c:v>23283</c:v>
                </c:pt>
                <c:pt idx="344">
                  <c:v>23283</c:v>
                </c:pt>
                <c:pt idx="345">
                  <c:v>23283</c:v>
                </c:pt>
                <c:pt idx="346">
                  <c:v>23283</c:v>
                </c:pt>
                <c:pt idx="347">
                  <c:v>23283</c:v>
                </c:pt>
                <c:pt idx="348">
                  <c:v>23283</c:v>
                </c:pt>
                <c:pt idx="349">
                  <c:v>23284</c:v>
                </c:pt>
                <c:pt idx="350">
                  <c:v>23285</c:v>
                </c:pt>
                <c:pt idx="351">
                  <c:v>23285</c:v>
                </c:pt>
                <c:pt idx="352">
                  <c:v>23286</c:v>
                </c:pt>
                <c:pt idx="353">
                  <c:v>23286</c:v>
                </c:pt>
                <c:pt idx="354">
                  <c:v>23286</c:v>
                </c:pt>
                <c:pt idx="355">
                  <c:v>23286</c:v>
                </c:pt>
                <c:pt idx="356">
                  <c:v>23288</c:v>
                </c:pt>
                <c:pt idx="357">
                  <c:v>23288</c:v>
                </c:pt>
                <c:pt idx="358">
                  <c:v>23288</c:v>
                </c:pt>
                <c:pt idx="359">
                  <c:v>23288</c:v>
                </c:pt>
                <c:pt idx="360">
                  <c:v>23288</c:v>
                </c:pt>
                <c:pt idx="361">
                  <c:v>23288</c:v>
                </c:pt>
                <c:pt idx="362">
                  <c:v>23288</c:v>
                </c:pt>
                <c:pt idx="363">
                  <c:v>23288</c:v>
                </c:pt>
                <c:pt idx="364">
                  <c:v>23288</c:v>
                </c:pt>
                <c:pt idx="365">
                  <c:v>23289</c:v>
                </c:pt>
                <c:pt idx="366">
                  <c:v>23293</c:v>
                </c:pt>
                <c:pt idx="367">
                  <c:v>23295</c:v>
                </c:pt>
                <c:pt idx="368">
                  <c:v>23296</c:v>
                </c:pt>
                <c:pt idx="369">
                  <c:v>23296</c:v>
                </c:pt>
                <c:pt idx="370">
                  <c:v>23300</c:v>
                </c:pt>
                <c:pt idx="371">
                  <c:v>23300</c:v>
                </c:pt>
                <c:pt idx="372">
                  <c:v>23300</c:v>
                </c:pt>
                <c:pt idx="373">
                  <c:v>23301</c:v>
                </c:pt>
                <c:pt idx="374">
                  <c:v>23301</c:v>
                </c:pt>
                <c:pt idx="375">
                  <c:v>23301</c:v>
                </c:pt>
                <c:pt idx="376">
                  <c:v>23301</c:v>
                </c:pt>
                <c:pt idx="377">
                  <c:v>23302</c:v>
                </c:pt>
                <c:pt idx="378">
                  <c:v>23302</c:v>
                </c:pt>
                <c:pt idx="379">
                  <c:v>23302</c:v>
                </c:pt>
                <c:pt idx="380">
                  <c:v>23302</c:v>
                </c:pt>
                <c:pt idx="381">
                  <c:v>23302</c:v>
                </c:pt>
                <c:pt idx="382">
                  <c:v>23302</c:v>
                </c:pt>
                <c:pt idx="383">
                  <c:v>23302</c:v>
                </c:pt>
                <c:pt idx="384">
                  <c:v>23303</c:v>
                </c:pt>
                <c:pt idx="385">
                  <c:v>23307</c:v>
                </c:pt>
                <c:pt idx="386">
                  <c:v>23308</c:v>
                </c:pt>
                <c:pt idx="387">
                  <c:v>23308</c:v>
                </c:pt>
                <c:pt idx="388">
                  <c:v>23308</c:v>
                </c:pt>
                <c:pt idx="389">
                  <c:v>23308</c:v>
                </c:pt>
                <c:pt idx="390">
                  <c:v>23308</c:v>
                </c:pt>
                <c:pt idx="391">
                  <c:v>23310</c:v>
                </c:pt>
                <c:pt idx="392">
                  <c:v>23310</c:v>
                </c:pt>
                <c:pt idx="393">
                  <c:v>23311</c:v>
                </c:pt>
                <c:pt idx="394">
                  <c:v>23311</c:v>
                </c:pt>
                <c:pt idx="395">
                  <c:v>23312</c:v>
                </c:pt>
                <c:pt idx="396">
                  <c:v>23313</c:v>
                </c:pt>
                <c:pt idx="397">
                  <c:v>23314</c:v>
                </c:pt>
                <c:pt idx="398">
                  <c:v>23316</c:v>
                </c:pt>
                <c:pt idx="399">
                  <c:v>23318</c:v>
                </c:pt>
                <c:pt idx="400">
                  <c:v>23329</c:v>
                </c:pt>
                <c:pt idx="401">
                  <c:v>23331</c:v>
                </c:pt>
                <c:pt idx="402">
                  <c:v>23356</c:v>
                </c:pt>
                <c:pt idx="403">
                  <c:v>23357</c:v>
                </c:pt>
                <c:pt idx="404">
                  <c:v>23357</c:v>
                </c:pt>
                <c:pt idx="405">
                  <c:v>23358</c:v>
                </c:pt>
                <c:pt idx="406">
                  <c:v>23358</c:v>
                </c:pt>
                <c:pt idx="407">
                  <c:v>23378</c:v>
                </c:pt>
                <c:pt idx="408">
                  <c:v>23381</c:v>
                </c:pt>
                <c:pt idx="409">
                  <c:v>23383</c:v>
                </c:pt>
                <c:pt idx="410">
                  <c:v>23383</c:v>
                </c:pt>
                <c:pt idx="411">
                  <c:v>23383</c:v>
                </c:pt>
                <c:pt idx="412">
                  <c:v>23389</c:v>
                </c:pt>
                <c:pt idx="413">
                  <c:v>23394</c:v>
                </c:pt>
                <c:pt idx="414">
                  <c:v>23398</c:v>
                </c:pt>
                <c:pt idx="415">
                  <c:v>23400</c:v>
                </c:pt>
                <c:pt idx="416">
                  <c:v>23405</c:v>
                </c:pt>
                <c:pt idx="417">
                  <c:v>23406</c:v>
                </c:pt>
                <c:pt idx="418">
                  <c:v>23407</c:v>
                </c:pt>
                <c:pt idx="419">
                  <c:v>23421</c:v>
                </c:pt>
                <c:pt idx="420">
                  <c:v>23430</c:v>
                </c:pt>
                <c:pt idx="421">
                  <c:v>23441</c:v>
                </c:pt>
                <c:pt idx="422">
                  <c:v>23441</c:v>
                </c:pt>
                <c:pt idx="423">
                  <c:v>23459</c:v>
                </c:pt>
                <c:pt idx="424">
                  <c:v>23466</c:v>
                </c:pt>
                <c:pt idx="425">
                  <c:v>23477</c:v>
                </c:pt>
                <c:pt idx="426">
                  <c:v>23512</c:v>
                </c:pt>
                <c:pt idx="427">
                  <c:v>23526</c:v>
                </c:pt>
                <c:pt idx="428">
                  <c:v>23542</c:v>
                </c:pt>
                <c:pt idx="429">
                  <c:v>23594</c:v>
                </c:pt>
                <c:pt idx="430">
                  <c:v>23617</c:v>
                </c:pt>
                <c:pt idx="431">
                  <c:v>23623</c:v>
                </c:pt>
                <c:pt idx="432">
                  <c:v>23628</c:v>
                </c:pt>
                <c:pt idx="433">
                  <c:v>23657</c:v>
                </c:pt>
                <c:pt idx="434">
                  <c:v>23686</c:v>
                </c:pt>
                <c:pt idx="435">
                  <c:v>23701</c:v>
                </c:pt>
                <c:pt idx="436">
                  <c:v>23719</c:v>
                </c:pt>
                <c:pt idx="437">
                  <c:v>23736</c:v>
                </c:pt>
                <c:pt idx="438">
                  <c:v>23749</c:v>
                </c:pt>
                <c:pt idx="439">
                  <c:v>23763</c:v>
                </c:pt>
                <c:pt idx="440">
                  <c:v>23806</c:v>
                </c:pt>
                <c:pt idx="441">
                  <c:v>23838</c:v>
                </c:pt>
                <c:pt idx="442">
                  <c:v>23861</c:v>
                </c:pt>
                <c:pt idx="443">
                  <c:v>23916</c:v>
                </c:pt>
                <c:pt idx="444">
                  <c:v>24001</c:v>
                </c:pt>
                <c:pt idx="445">
                  <c:v>24027</c:v>
                </c:pt>
                <c:pt idx="446">
                  <c:v>24036</c:v>
                </c:pt>
                <c:pt idx="447">
                  <c:v>24084</c:v>
                </c:pt>
                <c:pt idx="448">
                  <c:v>24107</c:v>
                </c:pt>
                <c:pt idx="449">
                  <c:v>24149</c:v>
                </c:pt>
                <c:pt idx="450">
                  <c:v>24178</c:v>
                </c:pt>
                <c:pt idx="451">
                  <c:v>24230</c:v>
                </c:pt>
                <c:pt idx="452">
                  <c:v>24235</c:v>
                </c:pt>
                <c:pt idx="453">
                  <c:v>24242</c:v>
                </c:pt>
                <c:pt idx="454">
                  <c:v>24284</c:v>
                </c:pt>
                <c:pt idx="455">
                  <c:v>24298</c:v>
                </c:pt>
                <c:pt idx="456">
                  <c:v>24328</c:v>
                </c:pt>
                <c:pt idx="457">
                  <c:v>24359</c:v>
                </c:pt>
                <c:pt idx="458">
                  <c:v>24372</c:v>
                </c:pt>
                <c:pt idx="459">
                  <c:v>24410</c:v>
                </c:pt>
                <c:pt idx="460">
                  <c:v>24417</c:v>
                </c:pt>
                <c:pt idx="461">
                  <c:v>24446</c:v>
                </c:pt>
                <c:pt idx="462">
                  <c:v>24468</c:v>
                </c:pt>
                <c:pt idx="463">
                  <c:v>24486</c:v>
                </c:pt>
                <c:pt idx="464">
                  <c:v>24517</c:v>
                </c:pt>
                <c:pt idx="465">
                  <c:v>24545</c:v>
                </c:pt>
                <c:pt idx="466">
                  <c:v>24551</c:v>
                </c:pt>
                <c:pt idx="467">
                  <c:v>24551</c:v>
                </c:pt>
                <c:pt idx="468">
                  <c:v>24567</c:v>
                </c:pt>
                <c:pt idx="469">
                  <c:v>24594</c:v>
                </c:pt>
                <c:pt idx="470">
                  <c:v>24609</c:v>
                </c:pt>
                <c:pt idx="471">
                  <c:v>24616</c:v>
                </c:pt>
                <c:pt idx="472">
                  <c:v>24628</c:v>
                </c:pt>
                <c:pt idx="473">
                  <c:v>24630</c:v>
                </c:pt>
                <c:pt idx="474">
                  <c:v>24633</c:v>
                </c:pt>
                <c:pt idx="475">
                  <c:v>24647</c:v>
                </c:pt>
                <c:pt idx="476">
                  <c:v>24655</c:v>
                </c:pt>
                <c:pt idx="477">
                  <c:v>24658</c:v>
                </c:pt>
                <c:pt idx="478">
                  <c:v>24663</c:v>
                </c:pt>
                <c:pt idx="479">
                  <c:v>24663</c:v>
                </c:pt>
                <c:pt idx="480">
                  <c:v>24668</c:v>
                </c:pt>
                <c:pt idx="481">
                  <c:v>24668</c:v>
                </c:pt>
                <c:pt idx="482">
                  <c:v>24678</c:v>
                </c:pt>
                <c:pt idx="483">
                  <c:v>24684</c:v>
                </c:pt>
                <c:pt idx="484">
                  <c:v>24689</c:v>
                </c:pt>
                <c:pt idx="485">
                  <c:v>24691</c:v>
                </c:pt>
                <c:pt idx="486">
                  <c:v>24701</c:v>
                </c:pt>
                <c:pt idx="487">
                  <c:v>24703</c:v>
                </c:pt>
                <c:pt idx="488">
                  <c:v>24703</c:v>
                </c:pt>
                <c:pt idx="489">
                  <c:v>24707</c:v>
                </c:pt>
                <c:pt idx="490">
                  <c:v>24712</c:v>
                </c:pt>
                <c:pt idx="491">
                  <c:v>24718</c:v>
                </c:pt>
                <c:pt idx="492">
                  <c:v>24724</c:v>
                </c:pt>
                <c:pt idx="493">
                  <c:v>24730</c:v>
                </c:pt>
                <c:pt idx="494">
                  <c:v>24731</c:v>
                </c:pt>
                <c:pt idx="495">
                  <c:v>24733</c:v>
                </c:pt>
                <c:pt idx="496">
                  <c:v>24734</c:v>
                </c:pt>
                <c:pt idx="497">
                  <c:v>24742</c:v>
                </c:pt>
                <c:pt idx="498">
                  <c:v>24745</c:v>
                </c:pt>
                <c:pt idx="499">
                  <c:v>24749</c:v>
                </c:pt>
                <c:pt idx="500">
                  <c:v>24757</c:v>
                </c:pt>
                <c:pt idx="501">
                  <c:v>24757</c:v>
                </c:pt>
                <c:pt idx="502">
                  <c:v>24760</c:v>
                </c:pt>
                <c:pt idx="503">
                  <c:v>24774</c:v>
                </c:pt>
                <c:pt idx="504">
                  <c:v>24782</c:v>
                </c:pt>
                <c:pt idx="505">
                  <c:v>24789</c:v>
                </c:pt>
                <c:pt idx="506">
                  <c:v>24809</c:v>
                </c:pt>
                <c:pt idx="507">
                  <c:v>24827</c:v>
                </c:pt>
                <c:pt idx="508">
                  <c:v>24844</c:v>
                </c:pt>
                <c:pt idx="509">
                  <c:v>24851</c:v>
                </c:pt>
                <c:pt idx="510">
                  <c:v>24870</c:v>
                </c:pt>
                <c:pt idx="511">
                  <c:v>24918</c:v>
                </c:pt>
                <c:pt idx="512">
                  <c:v>24971</c:v>
                </c:pt>
                <c:pt idx="513">
                  <c:v>24991</c:v>
                </c:pt>
                <c:pt idx="514">
                  <c:v>250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16</c:f>
              <c:numCache>
                <c:formatCode>m/d/yyyy</c:formatCode>
                <c:ptCount val="5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</c:numCache>
            </c:numRef>
          </c:cat>
          <c:val>
            <c:numRef>
              <c:f>List1!$C$2:$C$516</c:f>
              <c:numCache>
                <c:formatCode>General</c:formatCode>
                <c:ptCount val="51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9</c:v>
                </c:pt>
                <c:pt idx="13">
                  <c:v>12</c:v>
                </c:pt>
                <c:pt idx="14">
                  <c:v>13</c:v>
                </c:pt>
                <c:pt idx="15">
                  <c:v>15</c:v>
                </c:pt>
                <c:pt idx="16">
                  <c:v>17</c:v>
                </c:pt>
                <c:pt idx="17">
                  <c:v>19</c:v>
                </c:pt>
                <c:pt idx="18">
                  <c:v>20</c:v>
                </c:pt>
                <c:pt idx="19">
                  <c:v>24</c:v>
                </c:pt>
                <c:pt idx="20">
                  <c:v>29</c:v>
                </c:pt>
                <c:pt idx="21">
                  <c:v>34</c:v>
                </c:pt>
                <c:pt idx="22">
                  <c:v>35</c:v>
                </c:pt>
                <c:pt idx="23">
                  <c:v>39</c:v>
                </c:pt>
                <c:pt idx="24">
                  <c:v>51</c:v>
                </c:pt>
                <c:pt idx="25">
                  <c:v>58</c:v>
                </c:pt>
                <c:pt idx="26">
                  <c:v>60</c:v>
                </c:pt>
                <c:pt idx="27">
                  <c:v>64</c:v>
                </c:pt>
                <c:pt idx="28">
                  <c:v>89</c:v>
                </c:pt>
                <c:pt idx="29">
                  <c:v>99</c:v>
                </c:pt>
                <c:pt idx="30">
                  <c:v>129</c:v>
                </c:pt>
                <c:pt idx="31">
                  <c:v>224</c:v>
                </c:pt>
                <c:pt idx="32">
                  <c:v>255</c:v>
                </c:pt>
                <c:pt idx="33">
                  <c:v>285</c:v>
                </c:pt>
                <c:pt idx="34">
                  <c:v>376</c:v>
                </c:pt>
                <c:pt idx="35">
                  <c:v>423</c:v>
                </c:pt>
                <c:pt idx="36">
                  <c:v>466</c:v>
                </c:pt>
                <c:pt idx="37">
                  <c:v>551</c:v>
                </c:pt>
                <c:pt idx="38">
                  <c:v>638</c:v>
                </c:pt>
                <c:pt idx="39">
                  <c:v>689</c:v>
                </c:pt>
                <c:pt idx="40">
                  <c:v>714</c:v>
                </c:pt>
                <c:pt idx="41">
                  <c:v>878</c:v>
                </c:pt>
                <c:pt idx="42">
                  <c:v>1036</c:v>
                </c:pt>
                <c:pt idx="43">
                  <c:v>1230</c:v>
                </c:pt>
                <c:pt idx="44">
                  <c:v>1432</c:v>
                </c:pt>
                <c:pt idx="45">
                  <c:v>1645</c:v>
                </c:pt>
                <c:pt idx="46">
                  <c:v>1752</c:v>
                </c:pt>
                <c:pt idx="47">
                  <c:v>1800</c:v>
                </c:pt>
                <c:pt idx="48">
                  <c:v>1994</c:v>
                </c:pt>
                <c:pt idx="49">
                  <c:v>2189</c:v>
                </c:pt>
                <c:pt idx="50">
                  <c:v>2454</c:v>
                </c:pt>
                <c:pt idx="51">
                  <c:v>2690</c:v>
                </c:pt>
                <c:pt idx="52">
                  <c:v>3026</c:v>
                </c:pt>
                <c:pt idx="53">
                  <c:v>3213</c:v>
                </c:pt>
                <c:pt idx="54">
                  <c:v>3303</c:v>
                </c:pt>
                <c:pt idx="55">
                  <c:v>3682</c:v>
                </c:pt>
                <c:pt idx="56">
                  <c:v>4086</c:v>
                </c:pt>
                <c:pt idx="57">
                  <c:v>4221</c:v>
                </c:pt>
                <c:pt idx="58">
                  <c:v>4693</c:v>
                </c:pt>
                <c:pt idx="59">
                  <c:v>5028</c:v>
                </c:pt>
                <c:pt idx="60">
                  <c:v>5213</c:v>
                </c:pt>
                <c:pt idx="61">
                  <c:v>5330</c:v>
                </c:pt>
                <c:pt idx="62">
                  <c:v>5633</c:v>
                </c:pt>
                <c:pt idx="63">
                  <c:v>5867</c:v>
                </c:pt>
                <c:pt idx="64">
                  <c:v>6201</c:v>
                </c:pt>
                <c:pt idx="65">
                  <c:v>6485</c:v>
                </c:pt>
                <c:pt idx="66">
                  <c:v>6727</c:v>
                </c:pt>
                <c:pt idx="67">
                  <c:v>6845</c:v>
                </c:pt>
                <c:pt idx="68">
                  <c:v>6896</c:v>
                </c:pt>
                <c:pt idx="69">
                  <c:v>7097</c:v>
                </c:pt>
                <c:pt idx="70">
                  <c:v>7302</c:v>
                </c:pt>
                <c:pt idx="71">
                  <c:v>7566</c:v>
                </c:pt>
                <c:pt idx="72">
                  <c:v>7802</c:v>
                </c:pt>
                <c:pt idx="73">
                  <c:v>8006</c:v>
                </c:pt>
                <c:pt idx="74">
                  <c:v>8081</c:v>
                </c:pt>
                <c:pt idx="75">
                  <c:v>8111</c:v>
                </c:pt>
                <c:pt idx="76">
                  <c:v>8299</c:v>
                </c:pt>
                <c:pt idx="77">
                  <c:v>8346</c:v>
                </c:pt>
                <c:pt idx="78">
                  <c:v>8509</c:v>
                </c:pt>
                <c:pt idx="79">
                  <c:v>8640</c:v>
                </c:pt>
                <c:pt idx="80">
                  <c:v>8761</c:v>
                </c:pt>
                <c:pt idx="81">
                  <c:v>8799</c:v>
                </c:pt>
                <c:pt idx="82">
                  <c:v>8816</c:v>
                </c:pt>
                <c:pt idx="83">
                  <c:v>8956</c:v>
                </c:pt>
                <c:pt idx="84">
                  <c:v>9064</c:v>
                </c:pt>
                <c:pt idx="85">
                  <c:v>9158</c:v>
                </c:pt>
                <c:pt idx="86">
                  <c:v>9215</c:v>
                </c:pt>
                <c:pt idx="87">
                  <c:v>9297</c:v>
                </c:pt>
                <c:pt idx="88">
                  <c:v>9320</c:v>
                </c:pt>
                <c:pt idx="89">
                  <c:v>9336</c:v>
                </c:pt>
                <c:pt idx="90">
                  <c:v>9442</c:v>
                </c:pt>
                <c:pt idx="91">
                  <c:v>9530</c:v>
                </c:pt>
                <c:pt idx="92">
                  <c:v>9596</c:v>
                </c:pt>
                <c:pt idx="93">
                  <c:v>9656</c:v>
                </c:pt>
                <c:pt idx="94">
                  <c:v>9747</c:v>
                </c:pt>
                <c:pt idx="95">
                  <c:v>9787</c:v>
                </c:pt>
                <c:pt idx="96">
                  <c:v>9813</c:v>
                </c:pt>
                <c:pt idx="97">
                  <c:v>9934</c:v>
                </c:pt>
                <c:pt idx="98">
                  <c:v>10010</c:v>
                </c:pt>
                <c:pt idx="99">
                  <c:v>10073</c:v>
                </c:pt>
                <c:pt idx="100">
                  <c:v>10132</c:v>
                </c:pt>
                <c:pt idx="101">
                  <c:v>10210</c:v>
                </c:pt>
                <c:pt idx="102">
                  <c:v>10231</c:v>
                </c:pt>
                <c:pt idx="103">
                  <c:v>10248</c:v>
                </c:pt>
                <c:pt idx="104">
                  <c:v>10380</c:v>
                </c:pt>
                <c:pt idx="105">
                  <c:v>10451</c:v>
                </c:pt>
                <c:pt idx="106">
                  <c:v>10547</c:v>
                </c:pt>
                <c:pt idx="107">
                  <c:v>10599</c:v>
                </c:pt>
                <c:pt idx="108">
                  <c:v>10683</c:v>
                </c:pt>
                <c:pt idx="109">
                  <c:v>10712</c:v>
                </c:pt>
                <c:pt idx="110">
                  <c:v>10740</c:v>
                </c:pt>
                <c:pt idx="111">
                  <c:v>10901</c:v>
                </c:pt>
                <c:pt idx="112">
                  <c:v>11013</c:v>
                </c:pt>
                <c:pt idx="113">
                  <c:v>11132</c:v>
                </c:pt>
                <c:pt idx="114">
                  <c:v>11160</c:v>
                </c:pt>
                <c:pt idx="115">
                  <c:v>11205</c:v>
                </c:pt>
                <c:pt idx="116">
                  <c:v>11257</c:v>
                </c:pt>
                <c:pt idx="117">
                  <c:v>11304</c:v>
                </c:pt>
                <c:pt idx="118">
                  <c:v>11499</c:v>
                </c:pt>
                <c:pt idx="119">
                  <c:v>11646</c:v>
                </c:pt>
                <c:pt idx="120">
                  <c:v>11759</c:v>
                </c:pt>
                <c:pt idx="121">
                  <c:v>11847</c:v>
                </c:pt>
                <c:pt idx="122">
                  <c:v>11876</c:v>
                </c:pt>
                <c:pt idx="123">
                  <c:v>11938</c:v>
                </c:pt>
                <c:pt idx="124">
                  <c:v>11973</c:v>
                </c:pt>
                <c:pt idx="125">
                  <c:v>12251</c:v>
                </c:pt>
                <c:pt idx="126">
                  <c:v>12398</c:v>
                </c:pt>
                <c:pt idx="127">
                  <c:v>12512</c:v>
                </c:pt>
                <c:pt idx="128">
                  <c:v>12614</c:v>
                </c:pt>
                <c:pt idx="129">
                  <c:v>12736</c:v>
                </c:pt>
                <c:pt idx="130">
                  <c:v>12786</c:v>
                </c:pt>
                <c:pt idx="131">
                  <c:v>12813</c:v>
                </c:pt>
                <c:pt idx="132">
                  <c:v>13047</c:v>
                </c:pt>
                <c:pt idx="133">
                  <c:v>13144</c:v>
                </c:pt>
                <c:pt idx="134">
                  <c:v>13254</c:v>
                </c:pt>
                <c:pt idx="135">
                  <c:v>13308</c:v>
                </c:pt>
                <c:pt idx="136">
                  <c:v>13373</c:v>
                </c:pt>
                <c:pt idx="137">
                  <c:v>13406</c:v>
                </c:pt>
                <c:pt idx="138">
                  <c:v>13432</c:v>
                </c:pt>
                <c:pt idx="139">
                  <c:v>13559</c:v>
                </c:pt>
                <c:pt idx="140">
                  <c:v>13635</c:v>
                </c:pt>
                <c:pt idx="141">
                  <c:v>13706</c:v>
                </c:pt>
                <c:pt idx="142">
                  <c:v>13767</c:v>
                </c:pt>
                <c:pt idx="143">
                  <c:v>13847</c:v>
                </c:pt>
                <c:pt idx="144">
                  <c:v>13874</c:v>
                </c:pt>
                <c:pt idx="145">
                  <c:v>13886</c:v>
                </c:pt>
                <c:pt idx="146">
                  <c:v>13975</c:v>
                </c:pt>
                <c:pt idx="147">
                  <c:v>14051</c:v>
                </c:pt>
                <c:pt idx="148">
                  <c:v>14111</c:v>
                </c:pt>
                <c:pt idx="149">
                  <c:v>14144</c:v>
                </c:pt>
                <c:pt idx="150">
                  <c:v>14191</c:v>
                </c:pt>
                <c:pt idx="151">
                  <c:v>14221</c:v>
                </c:pt>
                <c:pt idx="152">
                  <c:v>14231</c:v>
                </c:pt>
                <c:pt idx="153">
                  <c:v>14311</c:v>
                </c:pt>
                <c:pt idx="154">
                  <c:v>14381</c:v>
                </c:pt>
                <c:pt idx="155">
                  <c:v>14440</c:v>
                </c:pt>
                <c:pt idx="156">
                  <c:v>14484</c:v>
                </c:pt>
                <c:pt idx="157">
                  <c:v>14533</c:v>
                </c:pt>
                <c:pt idx="158">
                  <c:v>14544</c:v>
                </c:pt>
                <c:pt idx="159">
                  <c:v>14562</c:v>
                </c:pt>
                <c:pt idx="160">
                  <c:v>14635</c:v>
                </c:pt>
                <c:pt idx="161">
                  <c:v>14656</c:v>
                </c:pt>
                <c:pt idx="162">
                  <c:v>14690</c:v>
                </c:pt>
                <c:pt idx="163">
                  <c:v>14730</c:v>
                </c:pt>
                <c:pt idx="164">
                  <c:v>14770</c:v>
                </c:pt>
                <c:pt idx="165">
                  <c:v>14785</c:v>
                </c:pt>
                <c:pt idx="166">
                  <c:v>14796</c:v>
                </c:pt>
                <c:pt idx="167">
                  <c:v>14859</c:v>
                </c:pt>
                <c:pt idx="168">
                  <c:v>14892</c:v>
                </c:pt>
                <c:pt idx="169">
                  <c:v>14928</c:v>
                </c:pt>
                <c:pt idx="170">
                  <c:v>14959</c:v>
                </c:pt>
                <c:pt idx="171">
                  <c:v>14995</c:v>
                </c:pt>
                <c:pt idx="172">
                  <c:v>15001</c:v>
                </c:pt>
                <c:pt idx="173">
                  <c:v>15019</c:v>
                </c:pt>
                <c:pt idx="174">
                  <c:v>15095</c:v>
                </c:pt>
                <c:pt idx="175">
                  <c:v>15140</c:v>
                </c:pt>
                <c:pt idx="176">
                  <c:v>15174</c:v>
                </c:pt>
                <c:pt idx="177">
                  <c:v>15207</c:v>
                </c:pt>
                <c:pt idx="178">
                  <c:v>15246</c:v>
                </c:pt>
                <c:pt idx="179">
                  <c:v>15256</c:v>
                </c:pt>
                <c:pt idx="180">
                  <c:v>15265</c:v>
                </c:pt>
                <c:pt idx="181">
                  <c:v>15324</c:v>
                </c:pt>
                <c:pt idx="182">
                  <c:v>15364</c:v>
                </c:pt>
                <c:pt idx="183">
                  <c:v>15421</c:v>
                </c:pt>
                <c:pt idx="184">
                  <c:v>15462</c:v>
                </c:pt>
                <c:pt idx="185">
                  <c:v>15493</c:v>
                </c:pt>
                <c:pt idx="186">
                  <c:v>15507</c:v>
                </c:pt>
                <c:pt idx="187">
                  <c:v>15517</c:v>
                </c:pt>
                <c:pt idx="188">
                  <c:v>15580</c:v>
                </c:pt>
                <c:pt idx="189">
                  <c:v>15617</c:v>
                </c:pt>
                <c:pt idx="190">
                  <c:v>15647</c:v>
                </c:pt>
                <c:pt idx="191">
                  <c:v>15673</c:v>
                </c:pt>
                <c:pt idx="192">
                  <c:v>15692</c:v>
                </c:pt>
                <c:pt idx="193">
                  <c:v>15704</c:v>
                </c:pt>
                <c:pt idx="194">
                  <c:v>15711</c:v>
                </c:pt>
                <c:pt idx="195">
                  <c:v>15750</c:v>
                </c:pt>
                <c:pt idx="196">
                  <c:v>15775</c:v>
                </c:pt>
                <c:pt idx="197">
                  <c:v>15800</c:v>
                </c:pt>
                <c:pt idx="198">
                  <c:v>15816</c:v>
                </c:pt>
                <c:pt idx="199">
                  <c:v>15837</c:v>
                </c:pt>
                <c:pt idx="200">
                  <c:v>15839</c:v>
                </c:pt>
                <c:pt idx="201">
                  <c:v>15843</c:v>
                </c:pt>
                <c:pt idx="202">
                  <c:v>15877</c:v>
                </c:pt>
                <c:pt idx="203">
                  <c:v>15895</c:v>
                </c:pt>
                <c:pt idx="204">
                  <c:v>15905</c:v>
                </c:pt>
                <c:pt idx="205">
                  <c:v>15913</c:v>
                </c:pt>
                <c:pt idx="206">
                  <c:v>15929</c:v>
                </c:pt>
                <c:pt idx="207">
                  <c:v>15932</c:v>
                </c:pt>
                <c:pt idx="208">
                  <c:v>15933</c:v>
                </c:pt>
                <c:pt idx="209">
                  <c:v>15952</c:v>
                </c:pt>
                <c:pt idx="210">
                  <c:v>15968</c:v>
                </c:pt>
                <c:pt idx="211">
                  <c:v>15981</c:v>
                </c:pt>
                <c:pt idx="212">
                  <c:v>15993</c:v>
                </c:pt>
                <c:pt idx="213">
                  <c:v>15996</c:v>
                </c:pt>
                <c:pt idx="214">
                  <c:v>15999</c:v>
                </c:pt>
                <c:pt idx="215">
                  <c:v>16001</c:v>
                </c:pt>
                <c:pt idx="216">
                  <c:v>16006</c:v>
                </c:pt>
                <c:pt idx="217">
                  <c:v>16028</c:v>
                </c:pt>
                <c:pt idx="218">
                  <c:v>16045</c:v>
                </c:pt>
                <c:pt idx="219">
                  <c:v>16061</c:v>
                </c:pt>
                <c:pt idx="220">
                  <c:v>16069</c:v>
                </c:pt>
                <c:pt idx="221">
                  <c:v>16074</c:v>
                </c:pt>
                <c:pt idx="222">
                  <c:v>16075</c:v>
                </c:pt>
                <c:pt idx="223">
                  <c:v>16083</c:v>
                </c:pt>
                <c:pt idx="224">
                  <c:v>16089</c:v>
                </c:pt>
                <c:pt idx="225">
                  <c:v>16094</c:v>
                </c:pt>
                <c:pt idx="226">
                  <c:v>16100</c:v>
                </c:pt>
                <c:pt idx="227">
                  <c:v>16106</c:v>
                </c:pt>
                <c:pt idx="228">
                  <c:v>16107</c:v>
                </c:pt>
                <c:pt idx="229">
                  <c:v>16108</c:v>
                </c:pt>
                <c:pt idx="230">
                  <c:v>16118</c:v>
                </c:pt>
                <c:pt idx="231">
                  <c:v>16122</c:v>
                </c:pt>
                <c:pt idx="232">
                  <c:v>16126</c:v>
                </c:pt>
                <c:pt idx="233">
                  <c:v>16130</c:v>
                </c:pt>
                <c:pt idx="234">
                  <c:v>16133</c:v>
                </c:pt>
                <c:pt idx="235">
                  <c:v>16134</c:v>
                </c:pt>
                <c:pt idx="236">
                  <c:v>16134</c:v>
                </c:pt>
                <c:pt idx="237">
                  <c:v>16142</c:v>
                </c:pt>
                <c:pt idx="238">
                  <c:v>16150</c:v>
                </c:pt>
                <c:pt idx="239">
                  <c:v>16152</c:v>
                </c:pt>
                <c:pt idx="240">
                  <c:v>16154</c:v>
                </c:pt>
                <c:pt idx="241">
                  <c:v>16159</c:v>
                </c:pt>
                <c:pt idx="242">
                  <c:v>16159</c:v>
                </c:pt>
                <c:pt idx="243">
                  <c:v>16160</c:v>
                </c:pt>
                <c:pt idx="244">
                  <c:v>16162</c:v>
                </c:pt>
                <c:pt idx="245">
                  <c:v>16164</c:v>
                </c:pt>
                <c:pt idx="246">
                  <c:v>16165</c:v>
                </c:pt>
                <c:pt idx="247">
                  <c:v>16170</c:v>
                </c:pt>
                <c:pt idx="248">
                  <c:v>16172</c:v>
                </c:pt>
                <c:pt idx="249">
                  <c:v>16173</c:v>
                </c:pt>
                <c:pt idx="250">
                  <c:v>16173</c:v>
                </c:pt>
                <c:pt idx="251">
                  <c:v>16175</c:v>
                </c:pt>
                <c:pt idx="252">
                  <c:v>16179</c:v>
                </c:pt>
                <c:pt idx="253">
                  <c:v>16179</c:v>
                </c:pt>
                <c:pt idx="254">
                  <c:v>16181</c:v>
                </c:pt>
                <c:pt idx="255">
                  <c:v>16182</c:v>
                </c:pt>
                <c:pt idx="256">
                  <c:v>16182</c:v>
                </c:pt>
                <c:pt idx="257">
                  <c:v>16182</c:v>
                </c:pt>
                <c:pt idx="258">
                  <c:v>16187</c:v>
                </c:pt>
                <c:pt idx="259">
                  <c:v>16192</c:v>
                </c:pt>
                <c:pt idx="260">
                  <c:v>16194</c:v>
                </c:pt>
                <c:pt idx="261">
                  <c:v>16197</c:v>
                </c:pt>
                <c:pt idx="262">
                  <c:v>16198</c:v>
                </c:pt>
                <c:pt idx="263">
                  <c:v>16198</c:v>
                </c:pt>
                <c:pt idx="264">
                  <c:v>16198</c:v>
                </c:pt>
                <c:pt idx="265">
                  <c:v>16200</c:v>
                </c:pt>
                <c:pt idx="266">
                  <c:v>16201</c:v>
                </c:pt>
                <c:pt idx="267">
                  <c:v>16202</c:v>
                </c:pt>
                <c:pt idx="268">
                  <c:v>16203</c:v>
                </c:pt>
                <c:pt idx="269">
                  <c:v>16203</c:v>
                </c:pt>
                <c:pt idx="270">
                  <c:v>16203</c:v>
                </c:pt>
                <c:pt idx="271">
                  <c:v>16203</c:v>
                </c:pt>
                <c:pt idx="272">
                  <c:v>16203</c:v>
                </c:pt>
                <c:pt idx="273">
                  <c:v>16203</c:v>
                </c:pt>
                <c:pt idx="274">
                  <c:v>16203</c:v>
                </c:pt>
                <c:pt idx="275">
                  <c:v>16204</c:v>
                </c:pt>
                <c:pt idx="276">
                  <c:v>16204</c:v>
                </c:pt>
                <c:pt idx="277">
                  <c:v>16204</c:v>
                </c:pt>
                <c:pt idx="278">
                  <c:v>16204</c:v>
                </c:pt>
                <c:pt idx="279">
                  <c:v>16204</c:v>
                </c:pt>
                <c:pt idx="280">
                  <c:v>16204</c:v>
                </c:pt>
                <c:pt idx="281">
                  <c:v>16204</c:v>
                </c:pt>
                <c:pt idx="282">
                  <c:v>16204</c:v>
                </c:pt>
                <c:pt idx="283">
                  <c:v>16204</c:v>
                </c:pt>
                <c:pt idx="284">
                  <c:v>16204</c:v>
                </c:pt>
                <c:pt idx="285">
                  <c:v>16204</c:v>
                </c:pt>
                <c:pt idx="286">
                  <c:v>16204</c:v>
                </c:pt>
                <c:pt idx="287">
                  <c:v>16204</c:v>
                </c:pt>
                <c:pt idx="288">
                  <c:v>16204</c:v>
                </c:pt>
                <c:pt idx="289">
                  <c:v>16204</c:v>
                </c:pt>
                <c:pt idx="290">
                  <c:v>16204</c:v>
                </c:pt>
                <c:pt idx="291">
                  <c:v>16204</c:v>
                </c:pt>
                <c:pt idx="292">
                  <c:v>16204</c:v>
                </c:pt>
                <c:pt idx="293">
                  <c:v>16204</c:v>
                </c:pt>
                <c:pt idx="294">
                  <c:v>16204</c:v>
                </c:pt>
                <c:pt idx="295">
                  <c:v>16204</c:v>
                </c:pt>
                <c:pt idx="296">
                  <c:v>16204</c:v>
                </c:pt>
                <c:pt idx="297">
                  <c:v>16204</c:v>
                </c:pt>
                <c:pt idx="298">
                  <c:v>16204</c:v>
                </c:pt>
                <c:pt idx="299">
                  <c:v>16204</c:v>
                </c:pt>
                <c:pt idx="300">
                  <c:v>16204</c:v>
                </c:pt>
                <c:pt idx="301">
                  <c:v>16204</c:v>
                </c:pt>
                <c:pt idx="302">
                  <c:v>16205</c:v>
                </c:pt>
                <c:pt idx="303">
                  <c:v>16205</c:v>
                </c:pt>
                <c:pt idx="304">
                  <c:v>16205</c:v>
                </c:pt>
                <c:pt idx="305">
                  <c:v>16205</c:v>
                </c:pt>
                <c:pt idx="306">
                  <c:v>16205</c:v>
                </c:pt>
                <c:pt idx="307">
                  <c:v>16205</c:v>
                </c:pt>
                <c:pt idx="308">
                  <c:v>16205</c:v>
                </c:pt>
                <c:pt idx="309">
                  <c:v>16205</c:v>
                </c:pt>
                <c:pt idx="310">
                  <c:v>16205</c:v>
                </c:pt>
                <c:pt idx="311">
                  <c:v>16205</c:v>
                </c:pt>
                <c:pt idx="312">
                  <c:v>16205</c:v>
                </c:pt>
                <c:pt idx="313">
                  <c:v>16206</c:v>
                </c:pt>
                <c:pt idx="314">
                  <c:v>16206</c:v>
                </c:pt>
                <c:pt idx="315">
                  <c:v>16206</c:v>
                </c:pt>
                <c:pt idx="316">
                  <c:v>16206</c:v>
                </c:pt>
                <c:pt idx="317">
                  <c:v>16206</c:v>
                </c:pt>
                <c:pt idx="318">
                  <c:v>16206</c:v>
                </c:pt>
                <c:pt idx="319">
                  <c:v>16206</c:v>
                </c:pt>
                <c:pt idx="320">
                  <c:v>16206</c:v>
                </c:pt>
                <c:pt idx="321">
                  <c:v>16206</c:v>
                </c:pt>
                <c:pt idx="322">
                  <c:v>16206</c:v>
                </c:pt>
                <c:pt idx="323">
                  <c:v>16207</c:v>
                </c:pt>
                <c:pt idx="324">
                  <c:v>16207</c:v>
                </c:pt>
                <c:pt idx="325">
                  <c:v>16207</c:v>
                </c:pt>
                <c:pt idx="326">
                  <c:v>16207</c:v>
                </c:pt>
                <c:pt idx="327">
                  <c:v>16207</c:v>
                </c:pt>
                <c:pt idx="328">
                  <c:v>16207</c:v>
                </c:pt>
                <c:pt idx="329">
                  <c:v>16208</c:v>
                </c:pt>
                <c:pt idx="330">
                  <c:v>16210</c:v>
                </c:pt>
                <c:pt idx="331">
                  <c:v>16210</c:v>
                </c:pt>
                <c:pt idx="332">
                  <c:v>16210</c:v>
                </c:pt>
                <c:pt idx="333">
                  <c:v>16210</c:v>
                </c:pt>
                <c:pt idx="334">
                  <c:v>16210</c:v>
                </c:pt>
                <c:pt idx="335">
                  <c:v>16210</c:v>
                </c:pt>
                <c:pt idx="336">
                  <c:v>16210</c:v>
                </c:pt>
                <c:pt idx="337">
                  <c:v>16210</c:v>
                </c:pt>
                <c:pt idx="338">
                  <c:v>16210</c:v>
                </c:pt>
                <c:pt idx="339">
                  <c:v>16210</c:v>
                </c:pt>
                <c:pt idx="340">
                  <c:v>16210</c:v>
                </c:pt>
                <c:pt idx="341">
                  <c:v>16211</c:v>
                </c:pt>
                <c:pt idx="342">
                  <c:v>16211</c:v>
                </c:pt>
                <c:pt idx="343">
                  <c:v>16211</c:v>
                </c:pt>
                <c:pt idx="344">
                  <c:v>16212</c:v>
                </c:pt>
                <c:pt idx="345">
                  <c:v>16212</c:v>
                </c:pt>
                <c:pt idx="346">
                  <c:v>16212</c:v>
                </c:pt>
                <c:pt idx="347">
                  <c:v>16212</c:v>
                </c:pt>
                <c:pt idx="348">
                  <c:v>16212</c:v>
                </c:pt>
                <c:pt idx="349">
                  <c:v>16212</c:v>
                </c:pt>
                <c:pt idx="350">
                  <c:v>16212</c:v>
                </c:pt>
                <c:pt idx="351">
                  <c:v>16212</c:v>
                </c:pt>
                <c:pt idx="352">
                  <c:v>16212</c:v>
                </c:pt>
                <c:pt idx="353">
                  <c:v>16212</c:v>
                </c:pt>
                <c:pt idx="354">
                  <c:v>16212</c:v>
                </c:pt>
                <c:pt idx="355">
                  <c:v>16212</c:v>
                </c:pt>
                <c:pt idx="356">
                  <c:v>16213</c:v>
                </c:pt>
                <c:pt idx="357">
                  <c:v>16213</c:v>
                </c:pt>
                <c:pt idx="358">
                  <c:v>16213</c:v>
                </c:pt>
                <c:pt idx="359">
                  <c:v>16214</c:v>
                </c:pt>
                <c:pt idx="360">
                  <c:v>16215</c:v>
                </c:pt>
                <c:pt idx="361">
                  <c:v>16216</c:v>
                </c:pt>
                <c:pt idx="362">
                  <c:v>16216</c:v>
                </c:pt>
                <c:pt idx="363">
                  <c:v>16216</c:v>
                </c:pt>
                <c:pt idx="364">
                  <c:v>16216</c:v>
                </c:pt>
                <c:pt idx="365">
                  <c:v>16220</c:v>
                </c:pt>
                <c:pt idx="366">
                  <c:v>16221</c:v>
                </c:pt>
                <c:pt idx="367">
                  <c:v>16222</c:v>
                </c:pt>
                <c:pt idx="368">
                  <c:v>16222</c:v>
                </c:pt>
                <c:pt idx="369">
                  <c:v>16222</c:v>
                </c:pt>
                <c:pt idx="370">
                  <c:v>16223</c:v>
                </c:pt>
                <c:pt idx="371">
                  <c:v>16225</c:v>
                </c:pt>
                <c:pt idx="372">
                  <c:v>16226</c:v>
                </c:pt>
                <c:pt idx="373">
                  <c:v>16227</c:v>
                </c:pt>
                <c:pt idx="374">
                  <c:v>16227</c:v>
                </c:pt>
                <c:pt idx="375">
                  <c:v>16227</c:v>
                </c:pt>
                <c:pt idx="376">
                  <c:v>16228</c:v>
                </c:pt>
                <c:pt idx="377">
                  <c:v>16228</c:v>
                </c:pt>
                <c:pt idx="378">
                  <c:v>16229</c:v>
                </c:pt>
                <c:pt idx="379">
                  <c:v>16229</c:v>
                </c:pt>
                <c:pt idx="380">
                  <c:v>16229</c:v>
                </c:pt>
                <c:pt idx="381">
                  <c:v>16229</c:v>
                </c:pt>
                <c:pt idx="382">
                  <c:v>16230</c:v>
                </c:pt>
                <c:pt idx="383">
                  <c:v>16230</c:v>
                </c:pt>
                <c:pt idx="384">
                  <c:v>16234</c:v>
                </c:pt>
                <c:pt idx="385">
                  <c:v>16238</c:v>
                </c:pt>
                <c:pt idx="386">
                  <c:v>16240</c:v>
                </c:pt>
                <c:pt idx="387">
                  <c:v>16240</c:v>
                </c:pt>
                <c:pt idx="388">
                  <c:v>16240</c:v>
                </c:pt>
                <c:pt idx="389">
                  <c:v>16241</c:v>
                </c:pt>
                <c:pt idx="390">
                  <c:v>16242</c:v>
                </c:pt>
                <c:pt idx="391">
                  <c:v>16247</c:v>
                </c:pt>
                <c:pt idx="392">
                  <c:v>16249</c:v>
                </c:pt>
                <c:pt idx="393">
                  <c:v>16256</c:v>
                </c:pt>
                <c:pt idx="394">
                  <c:v>16259</c:v>
                </c:pt>
                <c:pt idx="395">
                  <c:v>16261</c:v>
                </c:pt>
                <c:pt idx="396">
                  <c:v>16261</c:v>
                </c:pt>
                <c:pt idx="397">
                  <c:v>16261</c:v>
                </c:pt>
                <c:pt idx="398">
                  <c:v>16264</c:v>
                </c:pt>
                <c:pt idx="399">
                  <c:v>16269</c:v>
                </c:pt>
                <c:pt idx="400">
                  <c:v>16271</c:v>
                </c:pt>
                <c:pt idx="401">
                  <c:v>16272</c:v>
                </c:pt>
                <c:pt idx="402">
                  <c:v>16274</c:v>
                </c:pt>
                <c:pt idx="403">
                  <c:v>16275</c:v>
                </c:pt>
                <c:pt idx="404">
                  <c:v>16275</c:v>
                </c:pt>
                <c:pt idx="405">
                  <c:v>16277</c:v>
                </c:pt>
                <c:pt idx="406">
                  <c:v>16280</c:v>
                </c:pt>
                <c:pt idx="407">
                  <c:v>16281</c:v>
                </c:pt>
                <c:pt idx="408">
                  <c:v>16284</c:v>
                </c:pt>
                <c:pt idx="409">
                  <c:v>16290</c:v>
                </c:pt>
                <c:pt idx="410">
                  <c:v>16292</c:v>
                </c:pt>
                <c:pt idx="411">
                  <c:v>16293</c:v>
                </c:pt>
                <c:pt idx="412">
                  <c:v>16305</c:v>
                </c:pt>
                <c:pt idx="413">
                  <c:v>16313</c:v>
                </c:pt>
                <c:pt idx="414">
                  <c:v>16324</c:v>
                </c:pt>
                <c:pt idx="415">
                  <c:v>16331</c:v>
                </c:pt>
                <c:pt idx="416">
                  <c:v>16341</c:v>
                </c:pt>
                <c:pt idx="417">
                  <c:v>16341</c:v>
                </c:pt>
                <c:pt idx="418">
                  <c:v>16345</c:v>
                </c:pt>
                <c:pt idx="419">
                  <c:v>16364</c:v>
                </c:pt>
                <c:pt idx="420">
                  <c:v>16369</c:v>
                </c:pt>
                <c:pt idx="421">
                  <c:v>16386</c:v>
                </c:pt>
                <c:pt idx="422">
                  <c:v>16389</c:v>
                </c:pt>
                <c:pt idx="423">
                  <c:v>16397</c:v>
                </c:pt>
                <c:pt idx="424">
                  <c:v>16402</c:v>
                </c:pt>
                <c:pt idx="425">
                  <c:v>16406</c:v>
                </c:pt>
                <c:pt idx="426">
                  <c:v>16447</c:v>
                </c:pt>
                <c:pt idx="427">
                  <c:v>16472</c:v>
                </c:pt>
                <c:pt idx="428">
                  <c:v>16491</c:v>
                </c:pt>
                <c:pt idx="429">
                  <c:v>16516</c:v>
                </c:pt>
                <c:pt idx="430">
                  <c:v>16543</c:v>
                </c:pt>
                <c:pt idx="431">
                  <c:v>16556</c:v>
                </c:pt>
                <c:pt idx="432">
                  <c:v>16561</c:v>
                </c:pt>
                <c:pt idx="433">
                  <c:v>16613</c:v>
                </c:pt>
                <c:pt idx="434">
                  <c:v>16639</c:v>
                </c:pt>
                <c:pt idx="435">
                  <c:v>16668</c:v>
                </c:pt>
                <c:pt idx="436">
                  <c:v>16704</c:v>
                </c:pt>
                <c:pt idx="437">
                  <c:v>16738</c:v>
                </c:pt>
                <c:pt idx="438">
                  <c:v>16758</c:v>
                </c:pt>
                <c:pt idx="439">
                  <c:v>16772</c:v>
                </c:pt>
                <c:pt idx="440">
                  <c:v>16828</c:v>
                </c:pt>
                <c:pt idx="441">
                  <c:v>16862</c:v>
                </c:pt>
                <c:pt idx="442">
                  <c:v>16876</c:v>
                </c:pt>
                <c:pt idx="443">
                  <c:v>16918</c:v>
                </c:pt>
                <c:pt idx="444">
                  <c:v>16970</c:v>
                </c:pt>
                <c:pt idx="445">
                  <c:v>16981</c:v>
                </c:pt>
                <c:pt idx="446">
                  <c:v>16988</c:v>
                </c:pt>
                <c:pt idx="447">
                  <c:v>17058</c:v>
                </c:pt>
                <c:pt idx="448">
                  <c:v>17102</c:v>
                </c:pt>
                <c:pt idx="449">
                  <c:v>17148</c:v>
                </c:pt>
                <c:pt idx="450">
                  <c:v>17197</c:v>
                </c:pt>
                <c:pt idx="451">
                  <c:v>17245</c:v>
                </c:pt>
                <c:pt idx="452">
                  <c:v>17267</c:v>
                </c:pt>
                <c:pt idx="453">
                  <c:v>17275</c:v>
                </c:pt>
                <c:pt idx="454">
                  <c:v>17318</c:v>
                </c:pt>
                <c:pt idx="455">
                  <c:v>17366</c:v>
                </c:pt>
                <c:pt idx="456">
                  <c:v>17407</c:v>
                </c:pt>
                <c:pt idx="457">
                  <c:v>17439</c:v>
                </c:pt>
                <c:pt idx="458">
                  <c:v>17468</c:v>
                </c:pt>
                <c:pt idx="459">
                  <c:v>17489</c:v>
                </c:pt>
                <c:pt idx="460">
                  <c:v>17498</c:v>
                </c:pt>
                <c:pt idx="461">
                  <c:v>17546</c:v>
                </c:pt>
                <c:pt idx="462">
                  <c:v>17581</c:v>
                </c:pt>
                <c:pt idx="463">
                  <c:v>17615</c:v>
                </c:pt>
                <c:pt idx="464">
                  <c:v>17640</c:v>
                </c:pt>
                <c:pt idx="465">
                  <c:v>17659</c:v>
                </c:pt>
                <c:pt idx="466">
                  <c:v>17672</c:v>
                </c:pt>
                <c:pt idx="467">
                  <c:v>17680</c:v>
                </c:pt>
                <c:pt idx="468">
                  <c:v>17710</c:v>
                </c:pt>
                <c:pt idx="469">
                  <c:v>17746</c:v>
                </c:pt>
                <c:pt idx="470">
                  <c:v>17774</c:v>
                </c:pt>
                <c:pt idx="471">
                  <c:v>17791</c:v>
                </c:pt>
                <c:pt idx="472">
                  <c:v>17805</c:v>
                </c:pt>
                <c:pt idx="473">
                  <c:v>17813</c:v>
                </c:pt>
                <c:pt idx="474">
                  <c:v>17823</c:v>
                </c:pt>
                <c:pt idx="475">
                  <c:v>17848</c:v>
                </c:pt>
                <c:pt idx="476">
                  <c:v>17860</c:v>
                </c:pt>
                <c:pt idx="477">
                  <c:v>17868</c:v>
                </c:pt>
                <c:pt idx="478">
                  <c:v>17872</c:v>
                </c:pt>
                <c:pt idx="479">
                  <c:v>17879</c:v>
                </c:pt>
                <c:pt idx="480">
                  <c:v>17882</c:v>
                </c:pt>
                <c:pt idx="481">
                  <c:v>17887</c:v>
                </c:pt>
                <c:pt idx="482">
                  <c:v>17897</c:v>
                </c:pt>
                <c:pt idx="483">
                  <c:v>17914</c:v>
                </c:pt>
                <c:pt idx="484">
                  <c:v>17922</c:v>
                </c:pt>
                <c:pt idx="485">
                  <c:v>17931</c:v>
                </c:pt>
                <c:pt idx="486">
                  <c:v>17937</c:v>
                </c:pt>
                <c:pt idx="487">
                  <c:v>17937</c:v>
                </c:pt>
                <c:pt idx="488">
                  <c:v>17940</c:v>
                </c:pt>
                <c:pt idx="489">
                  <c:v>17959</c:v>
                </c:pt>
                <c:pt idx="490">
                  <c:v>17973</c:v>
                </c:pt>
                <c:pt idx="491">
                  <c:v>17978</c:v>
                </c:pt>
                <c:pt idx="492">
                  <c:v>17987</c:v>
                </c:pt>
                <c:pt idx="493">
                  <c:v>17998</c:v>
                </c:pt>
                <c:pt idx="494">
                  <c:v>18001</c:v>
                </c:pt>
                <c:pt idx="495">
                  <c:v>18004</c:v>
                </c:pt>
                <c:pt idx="496">
                  <c:v>18022</c:v>
                </c:pt>
                <c:pt idx="497">
                  <c:v>18033</c:v>
                </c:pt>
                <c:pt idx="498">
                  <c:v>18041</c:v>
                </c:pt>
                <c:pt idx="499">
                  <c:v>18054</c:v>
                </c:pt>
                <c:pt idx="500">
                  <c:v>18065</c:v>
                </c:pt>
                <c:pt idx="501">
                  <c:v>18071</c:v>
                </c:pt>
                <c:pt idx="502">
                  <c:v>18081</c:v>
                </c:pt>
                <c:pt idx="503">
                  <c:v>18125</c:v>
                </c:pt>
                <c:pt idx="504">
                  <c:v>18150</c:v>
                </c:pt>
                <c:pt idx="505">
                  <c:v>18185</c:v>
                </c:pt>
                <c:pt idx="506">
                  <c:v>18241</c:v>
                </c:pt>
                <c:pt idx="507">
                  <c:v>18297</c:v>
                </c:pt>
                <c:pt idx="508">
                  <c:v>18321</c:v>
                </c:pt>
                <c:pt idx="509">
                  <c:v>18344</c:v>
                </c:pt>
                <c:pt idx="510">
                  <c:v>18405</c:v>
                </c:pt>
                <c:pt idx="511">
                  <c:v>18505</c:v>
                </c:pt>
                <c:pt idx="512">
                  <c:v>18612</c:v>
                </c:pt>
                <c:pt idx="513">
                  <c:v>18692</c:v>
                </c:pt>
                <c:pt idx="514">
                  <c:v>187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16</c:f>
              <c:numCache>
                <c:formatCode>m/d/yyyy</c:formatCode>
                <c:ptCount val="5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</c:numCache>
            </c:numRef>
          </c:cat>
          <c:val>
            <c:numRef>
              <c:f>List1!$D$2:$D$516</c:f>
              <c:numCache>
                <c:formatCode>General</c:formatCode>
                <c:ptCount val="515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1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21</c:v>
                </c:pt>
                <c:pt idx="12">
                  <c:v>22</c:v>
                </c:pt>
                <c:pt idx="13">
                  <c:v>26</c:v>
                </c:pt>
                <c:pt idx="14">
                  <c:v>27</c:v>
                </c:pt>
                <c:pt idx="15">
                  <c:v>29</c:v>
                </c:pt>
                <c:pt idx="16">
                  <c:v>31</c:v>
                </c:pt>
                <c:pt idx="17">
                  <c:v>35</c:v>
                </c:pt>
                <c:pt idx="18">
                  <c:v>37</c:v>
                </c:pt>
                <c:pt idx="19">
                  <c:v>44</c:v>
                </c:pt>
                <c:pt idx="20">
                  <c:v>50</c:v>
                </c:pt>
                <c:pt idx="21">
                  <c:v>55</c:v>
                </c:pt>
                <c:pt idx="22">
                  <c:v>57</c:v>
                </c:pt>
                <c:pt idx="23">
                  <c:v>64</c:v>
                </c:pt>
                <c:pt idx="24">
                  <c:v>77</c:v>
                </c:pt>
                <c:pt idx="25">
                  <c:v>89</c:v>
                </c:pt>
                <c:pt idx="26">
                  <c:v>96</c:v>
                </c:pt>
                <c:pt idx="27">
                  <c:v>103</c:v>
                </c:pt>
                <c:pt idx="28">
                  <c:v>133</c:v>
                </c:pt>
                <c:pt idx="29">
                  <c:v>171</c:v>
                </c:pt>
                <c:pt idx="30">
                  <c:v>232</c:v>
                </c:pt>
                <c:pt idx="31">
                  <c:v>389</c:v>
                </c:pt>
                <c:pt idx="32">
                  <c:v>456</c:v>
                </c:pt>
                <c:pt idx="33">
                  <c:v>540</c:v>
                </c:pt>
                <c:pt idx="34">
                  <c:v>798</c:v>
                </c:pt>
                <c:pt idx="35">
                  <c:v>927</c:v>
                </c:pt>
                <c:pt idx="36">
                  <c:v>1015</c:v>
                </c:pt>
                <c:pt idx="37">
                  <c:v>1178</c:v>
                </c:pt>
                <c:pt idx="38">
                  <c:v>1404</c:v>
                </c:pt>
                <c:pt idx="39">
                  <c:v>1485</c:v>
                </c:pt>
                <c:pt idx="40">
                  <c:v>1523</c:v>
                </c:pt>
                <c:pt idx="41">
                  <c:v>1825</c:v>
                </c:pt>
                <c:pt idx="42">
                  <c:v>2207</c:v>
                </c:pt>
                <c:pt idx="43">
                  <c:v>2582</c:v>
                </c:pt>
                <c:pt idx="44">
                  <c:v>2979</c:v>
                </c:pt>
                <c:pt idx="45">
                  <c:v>3397</c:v>
                </c:pt>
                <c:pt idx="46">
                  <c:v>3659</c:v>
                </c:pt>
                <c:pt idx="47">
                  <c:v>3748</c:v>
                </c:pt>
                <c:pt idx="48">
                  <c:v>4184</c:v>
                </c:pt>
                <c:pt idx="49">
                  <c:v>4579</c:v>
                </c:pt>
                <c:pt idx="50">
                  <c:v>5170</c:v>
                </c:pt>
                <c:pt idx="51">
                  <c:v>5634</c:v>
                </c:pt>
                <c:pt idx="52">
                  <c:v>6388</c:v>
                </c:pt>
                <c:pt idx="53">
                  <c:v>6802</c:v>
                </c:pt>
                <c:pt idx="54">
                  <c:v>7087</c:v>
                </c:pt>
                <c:pt idx="55">
                  <c:v>7853</c:v>
                </c:pt>
                <c:pt idx="56">
                  <c:v>8780</c:v>
                </c:pt>
                <c:pt idx="57">
                  <c:v>9176</c:v>
                </c:pt>
                <c:pt idx="58">
                  <c:v>10188</c:v>
                </c:pt>
                <c:pt idx="59">
                  <c:v>11111</c:v>
                </c:pt>
                <c:pt idx="60">
                  <c:v>11633</c:v>
                </c:pt>
                <c:pt idx="61">
                  <c:v>11963</c:v>
                </c:pt>
                <c:pt idx="62">
                  <c:v>12598</c:v>
                </c:pt>
                <c:pt idx="63">
                  <c:v>13164</c:v>
                </c:pt>
                <c:pt idx="64">
                  <c:v>13922</c:v>
                </c:pt>
                <c:pt idx="65">
                  <c:v>14740</c:v>
                </c:pt>
                <c:pt idx="66">
                  <c:v>15472</c:v>
                </c:pt>
                <c:pt idx="67">
                  <c:v>15805</c:v>
                </c:pt>
                <c:pt idx="68">
                  <c:v>15934</c:v>
                </c:pt>
                <c:pt idx="69">
                  <c:v>16340</c:v>
                </c:pt>
                <c:pt idx="70">
                  <c:v>16930</c:v>
                </c:pt>
                <c:pt idx="71">
                  <c:v>17871</c:v>
                </c:pt>
                <c:pt idx="72">
                  <c:v>18606</c:v>
                </c:pt>
                <c:pt idx="73">
                  <c:v>19293</c:v>
                </c:pt>
                <c:pt idx="74">
                  <c:v>19548</c:v>
                </c:pt>
                <c:pt idx="75">
                  <c:v>19744</c:v>
                </c:pt>
                <c:pt idx="76">
                  <c:v>20317</c:v>
                </c:pt>
                <c:pt idx="77">
                  <c:v>20503</c:v>
                </c:pt>
                <c:pt idx="78">
                  <c:v>20934</c:v>
                </c:pt>
                <c:pt idx="79">
                  <c:v>21334</c:v>
                </c:pt>
                <c:pt idx="80">
                  <c:v>21695</c:v>
                </c:pt>
                <c:pt idx="81">
                  <c:v>21827</c:v>
                </c:pt>
                <c:pt idx="82">
                  <c:v>21935</c:v>
                </c:pt>
                <c:pt idx="83">
                  <c:v>22455</c:v>
                </c:pt>
                <c:pt idx="84">
                  <c:v>22762</c:v>
                </c:pt>
                <c:pt idx="85">
                  <c:v>22982</c:v>
                </c:pt>
                <c:pt idx="86">
                  <c:v>23234</c:v>
                </c:pt>
                <c:pt idx="87">
                  <c:v>23455</c:v>
                </c:pt>
                <c:pt idx="88">
                  <c:v>23556</c:v>
                </c:pt>
                <c:pt idx="89">
                  <c:v>23600</c:v>
                </c:pt>
                <c:pt idx="90">
                  <c:v>23919</c:v>
                </c:pt>
                <c:pt idx="91">
                  <c:v>24131</c:v>
                </c:pt>
                <c:pt idx="92">
                  <c:v>24330</c:v>
                </c:pt>
                <c:pt idx="93">
                  <c:v>24519</c:v>
                </c:pt>
                <c:pt idx="94">
                  <c:v>24753</c:v>
                </c:pt>
                <c:pt idx="95">
                  <c:v>24882</c:v>
                </c:pt>
                <c:pt idx="96">
                  <c:v>24928</c:v>
                </c:pt>
                <c:pt idx="97">
                  <c:v>25191</c:v>
                </c:pt>
                <c:pt idx="98">
                  <c:v>25356</c:v>
                </c:pt>
                <c:pt idx="99">
                  <c:v>25560</c:v>
                </c:pt>
                <c:pt idx="100">
                  <c:v>25702</c:v>
                </c:pt>
                <c:pt idx="101">
                  <c:v>26010</c:v>
                </c:pt>
                <c:pt idx="102">
                  <c:v>26098</c:v>
                </c:pt>
                <c:pt idx="103">
                  <c:v>26165</c:v>
                </c:pt>
                <c:pt idx="104">
                  <c:v>26445</c:v>
                </c:pt>
                <c:pt idx="105">
                  <c:v>26649</c:v>
                </c:pt>
                <c:pt idx="106">
                  <c:v>26845</c:v>
                </c:pt>
                <c:pt idx="107">
                  <c:v>26965</c:v>
                </c:pt>
                <c:pt idx="108">
                  <c:v>27272</c:v>
                </c:pt>
                <c:pt idx="109">
                  <c:v>27362</c:v>
                </c:pt>
                <c:pt idx="110">
                  <c:v>27411</c:v>
                </c:pt>
                <c:pt idx="111">
                  <c:v>27751</c:v>
                </c:pt>
                <c:pt idx="112">
                  <c:v>28039</c:v>
                </c:pt>
                <c:pt idx="113">
                  <c:v>28280</c:v>
                </c:pt>
                <c:pt idx="114">
                  <c:v>28326</c:v>
                </c:pt>
                <c:pt idx="115">
                  <c:v>28442</c:v>
                </c:pt>
                <c:pt idx="116">
                  <c:v>28572</c:v>
                </c:pt>
                <c:pt idx="117">
                  <c:v>28717</c:v>
                </c:pt>
                <c:pt idx="118">
                  <c:v>29077</c:v>
                </c:pt>
                <c:pt idx="119">
                  <c:v>29409</c:v>
                </c:pt>
                <c:pt idx="120">
                  <c:v>29666</c:v>
                </c:pt>
                <c:pt idx="121">
                  <c:v>29887</c:v>
                </c:pt>
                <c:pt idx="122">
                  <c:v>29981</c:v>
                </c:pt>
                <c:pt idx="123">
                  <c:v>30103</c:v>
                </c:pt>
                <c:pt idx="124">
                  <c:v>30180</c:v>
                </c:pt>
                <c:pt idx="125">
                  <c:v>30727</c:v>
                </c:pt>
                <c:pt idx="126">
                  <c:v>31028</c:v>
                </c:pt>
                <c:pt idx="127">
                  <c:v>31302</c:v>
                </c:pt>
                <c:pt idx="128">
                  <c:v>31636</c:v>
                </c:pt>
                <c:pt idx="129">
                  <c:v>31945</c:v>
                </c:pt>
                <c:pt idx="130">
                  <c:v>32056</c:v>
                </c:pt>
                <c:pt idx="131">
                  <c:v>32114</c:v>
                </c:pt>
                <c:pt idx="132">
                  <c:v>32587</c:v>
                </c:pt>
                <c:pt idx="133">
                  <c:v>32810</c:v>
                </c:pt>
                <c:pt idx="134">
                  <c:v>33095</c:v>
                </c:pt>
                <c:pt idx="135">
                  <c:v>33246</c:v>
                </c:pt>
                <c:pt idx="136">
                  <c:v>33397</c:v>
                </c:pt>
                <c:pt idx="137">
                  <c:v>33465</c:v>
                </c:pt>
                <c:pt idx="138">
                  <c:v>33536</c:v>
                </c:pt>
                <c:pt idx="139">
                  <c:v>33825</c:v>
                </c:pt>
                <c:pt idx="140">
                  <c:v>33980</c:v>
                </c:pt>
                <c:pt idx="141">
                  <c:v>34198</c:v>
                </c:pt>
                <c:pt idx="142">
                  <c:v>34365</c:v>
                </c:pt>
                <c:pt idx="143">
                  <c:v>34561</c:v>
                </c:pt>
                <c:pt idx="144">
                  <c:v>34641</c:v>
                </c:pt>
                <c:pt idx="145">
                  <c:v>34678</c:v>
                </c:pt>
                <c:pt idx="146">
                  <c:v>34851</c:v>
                </c:pt>
                <c:pt idx="147">
                  <c:v>34968</c:v>
                </c:pt>
                <c:pt idx="148">
                  <c:v>35123</c:v>
                </c:pt>
                <c:pt idx="149">
                  <c:v>35223</c:v>
                </c:pt>
                <c:pt idx="150">
                  <c:v>35307</c:v>
                </c:pt>
                <c:pt idx="151">
                  <c:v>35386</c:v>
                </c:pt>
                <c:pt idx="152">
                  <c:v>35406</c:v>
                </c:pt>
                <c:pt idx="153">
                  <c:v>35592</c:v>
                </c:pt>
                <c:pt idx="154">
                  <c:v>35756</c:v>
                </c:pt>
                <c:pt idx="155">
                  <c:v>35917</c:v>
                </c:pt>
                <c:pt idx="156">
                  <c:v>36043</c:v>
                </c:pt>
                <c:pt idx="157">
                  <c:v>36176</c:v>
                </c:pt>
                <c:pt idx="158">
                  <c:v>36231</c:v>
                </c:pt>
                <c:pt idx="159">
                  <c:v>36265</c:v>
                </c:pt>
                <c:pt idx="160">
                  <c:v>36403</c:v>
                </c:pt>
                <c:pt idx="161">
                  <c:v>36490</c:v>
                </c:pt>
                <c:pt idx="162">
                  <c:v>36591</c:v>
                </c:pt>
                <c:pt idx="163">
                  <c:v>36696</c:v>
                </c:pt>
                <c:pt idx="164">
                  <c:v>36789</c:v>
                </c:pt>
                <c:pt idx="165">
                  <c:v>36812</c:v>
                </c:pt>
                <c:pt idx="166">
                  <c:v>36836</c:v>
                </c:pt>
                <c:pt idx="167">
                  <c:v>36936</c:v>
                </c:pt>
                <c:pt idx="168">
                  <c:v>36986</c:v>
                </c:pt>
                <c:pt idx="169">
                  <c:v>37052</c:v>
                </c:pt>
                <c:pt idx="170">
                  <c:v>37111</c:v>
                </c:pt>
                <c:pt idx="171">
                  <c:v>37175</c:v>
                </c:pt>
                <c:pt idx="172">
                  <c:v>37199</c:v>
                </c:pt>
                <c:pt idx="173">
                  <c:v>37222</c:v>
                </c:pt>
                <c:pt idx="174">
                  <c:v>37387</c:v>
                </c:pt>
                <c:pt idx="175">
                  <c:v>37468</c:v>
                </c:pt>
                <c:pt idx="176">
                  <c:v>37536</c:v>
                </c:pt>
                <c:pt idx="177">
                  <c:v>37615</c:v>
                </c:pt>
                <c:pt idx="178">
                  <c:v>37700</c:v>
                </c:pt>
                <c:pt idx="179">
                  <c:v>37720</c:v>
                </c:pt>
                <c:pt idx="180">
                  <c:v>37732</c:v>
                </c:pt>
                <c:pt idx="181">
                  <c:v>37869</c:v>
                </c:pt>
                <c:pt idx="182">
                  <c:v>37937</c:v>
                </c:pt>
                <c:pt idx="183">
                  <c:v>38040</c:v>
                </c:pt>
                <c:pt idx="184">
                  <c:v>38091</c:v>
                </c:pt>
                <c:pt idx="185">
                  <c:v>38145</c:v>
                </c:pt>
                <c:pt idx="186">
                  <c:v>38164</c:v>
                </c:pt>
                <c:pt idx="187">
                  <c:v>38179</c:v>
                </c:pt>
                <c:pt idx="188">
                  <c:v>38269</c:v>
                </c:pt>
                <c:pt idx="189">
                  <c:v>38386</c:v>
                </c:pt>
                <c:pt idx="190">
                  <c:v>38471</c:v>
                </c:pt>
                <c:pt idx="191">
                  <c:v>38509</c:v>
                </c:pt>
                <c:pt idx="192">
                  <c:v>38553</c:v>
                </c:pt>
                <c:pt idx="193">
                  <c:v>38574</c:v>
                </c:pt>
                <c:pt idx="194">
                  <c:v>38587</c:v>
                </c:pt>
                <c:pt idx="195">
                  <c:v>38655</c:v>
                </c:pt>
                <c:pt idx="196">
                  <c:v>38700</c:v>
                </c:pt>
                <c:pt idx="197">
                  <c:v>38732</c:v>
                </c:pt>
                <c:pt idx="198">
                  <c:v>38785</c:v>
                </c:pt>
                <c:pt idx="199">
                  <c:v>38824</c:v>
                </c:pt>
                <c:pt idx="200">
                  <c:v>38835</c:v>
                </c:pt>
                <c:pt idx="201">
                  <c:v>38843</c:v>
                </c:pt>
                <c:pt idx="202">
                  <c:v>38890</c:v>
                </c:pt>
                <c:pt idx="203">
                  <c:v>38938</c:v>
                </c:pt>
                <c:pt idx="204">
                  <c:v>38968</c:v>
                </c:pt>
                <c:pt idx="205">
                  <c:v>39007</c:v>
                </c:pt>
                <c:pt idx="206">
                  <c:v>39029</c:v>
                </c:pt>
                <c:pt idx="207">
                  <c:v>39035</c:v>
                </c:pt>
                <c:pt idx="208">
                  <c:v>39040</c:v>
                </c:pt>
                <c:pt idx="209">
                  <c:v>39080</c:v>
                </c:pt>
                <c:pt idx="210">
                  <c:v>39107</c:v>
                </c:pt>
                <c:pt idx="211">
                  <c:v>39131</c:v>
                </c:pt>
                <c:pt idx="212">
                  <c:v>39152</c:v>
                </c:pt>
                <c:pt idx="213">
                  <c:v>39159</c:v>
                </c:pt>
                <c:pt idx="214">
                  <c:v>39166</c:v>
                </c:pt>
                <c:pt idx="215">
                  <c:v>39170</c:v>
                </c:pt>
                <c:pt idx="216">
                  <c:v>39176</c:v>
                </c:pt>
                <c:pt idx="217">
                  <c:v>39203</c:v>
                </c:pt>
                <c:pt idx="218">
                  <c:v>39238</c:v>
                </c:pt>
                <c:pt idx="219">
                  <c:v>39255</c:v>
                </c:pt>
                <c:pt idx="220">
                  <c:v>39266</c:v>
                </c:pt>
                <c:pt idx="221">
                  <c:v>39272</c:v>
                </c:pt>
                <c:pt idx="222">
                  <c:v>39273</c:v>
                </c:pt>
                <c:pt idx="223">
                  <c:v>39282</c:v>
                </c:pt>
                <c:pt idx="224">
                  <c:v>39290</c:v>
                </c:pt>
                <c:pt idx="225">
                  <c:v>39296</c:v>
                </c:pt>
                <c:pt idx="226">
                  <c:v>39306</c:v>
                </c:pt>
                <c:pt idx="227">
                  <c:v>39313</c:v>
                </c:pt>
                <c:pt idx="228">
                  <c:v>39315</c:v>
                </c:pt>
                <c:pt idx="229">
                  <c:v>39317</c:v>
                </c:pt>
                <c:pt idx="230">
                  <c:v>39332</c:v>
                </c:pt>
                <c:pt idx="231">
                  <c:v>39340</c:v>
                </c:pt>
                <c:pt idx="232">
                  <c:v>39347</c:v>
                </c:pt>
                <c:pt idx="233">
                  <c:v>39360</c:v>
                </c:pt>
                <c:pt idx="234">
                  <c:v>39368</c:v>
                </c:pt>
                <c:pt idx="235">
                  <c:v>39370</c:v>
                </c:pt>
                <c:pt idx="236">
                  <c:v>39370</c:v>
                </c:pt>
                <c:pt idx="237">
                  <c:v>39379</c:v>
                </c:pt>
                <c:pt idx="238">
                  <c:v>39390</c:v>
                </c:pt>
                <c:pt idx="239">
                  <c:v>39393</c:v>
                </c:pt>
                <c:pt idx="240">
                  <c:v>39397</c:v>
                </c:pt>
                <c:pt idx="241">
                  <c:v>39403</c:v>
                </c:pt>
                <c:pt idx="242">
                  <c:v>39403</c:v>
                </c:pt>
                <c:pt idx="243">
                  <c:v>39404</c:v>
                </c:pt>
                <c:pt idx="244">
                  <c:v>39407</c:v>
                </c:pt>
                <c:pt idx="245">
                  <c:v>39409</c:v>
                </c:pt>
                <c:pt idx="246">
                  <c:v>39412</c:v>
                </c:pt>
                <c:pt idx="247">
                  <c:v>39417</c:v>
                </c:pt>
                <c:pt idx="248">
                  <c:v>39420</c:v>
                </c:pt>
                <c:pt idx="249">
                  <c:v>39421</c:v>
                </c:pt>
                <c:pt idx="250">
                  <c:v>39424</c:v>
                </c:pt>
                <c:pt idx="251">
                  <c:v>39431</c:v>
                </c:pt>
                <c:pt idx="252">
                  <c:v>39437</c:v>
                </c:pt>
                <c:pt idx="253">
                  <c:v>39437</c:v>
                </c:pt>
                <c:pt idx="254">
                  <c:v>39441</c:v>
                </c:pt>
                <c:pt idx="255">
                  <c:v>39445</c:v>
                </c:pt>
                <c:pt idx="256">
                  <c:v>39446</c:v>
                </c:pt>
                <c:pt idx="257">
                  <c:v>39446</c:v>
                </c:pt>
                <c:pt idx="258">
                  <c:v>39454</c:v>
                </c:pt>
                <c:pt idx="259">
                  <c:v>39459</c:v>
                </c:pt>
                <c:pt idx="260">
                  <c:v>39463</c:v>
                </c:pt>
                <c:pt idx="261">
                  <c:v>39466</c:v>
                </c:pt>
                <c:pt idx="262">
                  <c:v>39467</c:v>
                </c:pt>
                <c:pt idx="263">
                  <c:v>39467</c:v>
                </c:pt>
                <c:pt idx="264">
                  <c:v>39467</c:v>
                </c:pt>
                <c:pt idx="265">
                  <c:v>39471</c:v>
                </c:pt>
                <c:pt idx="266">
                  <c:v>39472</c:v>
                </c:pt>
                <c:pt idx="267">
                  <c:v>39473</c:v>
                </c:pt>
                <c:pt idx="268">
                  <c:v>39474</c:v>
                </c:pt>
                <c:pt idx="269">
                  <c:v>39474</c:v>
                </c:pt>
                <c:pt idx="270">
                  <c:v>39474</c:v>
                </c:pt>
                <c:pt idx="271">
                  <c:v>39474</c:v>
                </c:pt>
                <c:pt idx="272">
                  <c:v>39474</c:v>
                </c:pt>
                <c:pt idx="273">
                  <c:v>39474</c:v>
                </c:pt>
                <c:pt idx="274">
                  <c:v>39477</c:v>
                </c:pt>
                <c:pt idx="275">
                  <c:v>39479</c:v>
                </c:pt>
                <c:pt idx="276">
                  <c:v>39479</c:v>
                </c:pt>
                <c:pt idx="277">
                  <c:v>39479</c:v>
                </c:pt>
                <c:pt idx="278">
                  <c:v>39479</c:v>
                </c:pt>
                <c:pt idx="279">
                  <c:v>39479</c:v>
                </c:pt>
                <c:pt idx="280">
                  <c:v>39479</c:v>
                </c:pt>
                <c:pt idx="281">
                  <c:v>39479</c:v>
                </c:pt>
                <c:pt idx="282">
                  <c:v>39479</c:v>
                </c:pt>
                <c:pt idx="283">
                  <c:v>39480</c:v>
                </c:pt>
                <c:pt idx="284">
                  <c:v>39480</c:v>
                </c:pt>
                <c:pt idx="285">
                  <c:v>39480</c:v>
                </c:pt>
                <c:pt idx="286">
                  <c:v>39480</c:v>
                </c:pt>
                <c:pt idx="287">
                  <c:v>39480</c:v>
                </c:pt>
                <c:pt idx="288">
                  <c:v>39480</c:v>
                </c:pt>
                <c:pt idx="289">
                  <c:v>39481</c:v>
                </c:pt>
                <c:pt idx="290">
                  <c:v>39481</c:v>
                </c:pt>
                <c:pt idx="291">
                  <c:v>39481</c:v>
                </c:pt>
                <c:pt idx="292">
                  <c:v>39481</c:v>
                </c:pt>
                <c:pt idx="293">
                  <c:v>39481</c:v>
                </c:pt>
                <c:pt idx="294">
                  <c:v>39481</c:v>
                </c:pt>
                <c:pt idx="295">
                  <c:v>39482</c:v>
                </c:pt>
                <c:pt idx="296">
                  <c:v>39483</c:v>
                </c:pt>
                <c:pt idx="297">
                  <c:v>39483</c:v>
                </c:pt>
                <c:pt idx="298">
                  <c:v>39483</c:v>
                </c:pt>
                <c:pt idx="299">
                  <c:v>39483</c:v>
                </c:pt>
                <c:pt idx="300">
                  <c:v>39483</c:v>
                </c:pt>
                <c:pt idx="301">
                  <c:v>39483</c:v>
                </c:pt>
                <c:pt idx="302">
                  <c:v>39484</c:v>
                </c:pt>
                <c:pt idx="303">
                  <c:v>39485</c:v>
                </c:pt>
                <c:pt idx="304">
                  <c:v>39485</c:v>
                </c:pt>
                <c:pt idx="305">
                  <c:v>39485</c:v>
                </c:pt>
                <c:pt idx="306">
                  <c:v>39486</c:v>
                </c:pt>
                <c:pt idx="307">
                  <c:v>39486</c:v>
                </c:pt>
                <c:pt idx="308">
                  <c:v>39486</c:v>
                </c:pt>
                <c:pt idx="309">
                  <c:v>39486</c:v>
                </c:pt>
                <c:pt idx="310">
                  <c:v>39487</c:v>
                </c:pt>
                <c:pt idx="311">
                  <c:v>39487</c:v>
                </c:pt>
                <c:pt idx="312">
                  <c:v>39487</c:v>
                </c:pt>
                <c:pt idx="313">
                  <c:v>39488</c:v>
                </c:pt>
                <c:pt idx="314">
                  <c:v>39488</c:v>
                </c:pt>
                <c:pt idx="315">
                  <c:v>39488</c:v>
                </c:pt>
                <c:pt idx="316">
                  <c:v>39488</c:v>
                </c:pt>
                <c:pt idx="317">
                  <c:v>39488</c:v>
                </c:pt>
                <c:pt idx="318">
                  <c:v>39488</c:v>
                </c:pt>
                <c:pt idx="319">
                  <c:v>39488</c:v>
                </c:pt>
                <c:pt idx="320">
                  <c:v>39488</c:v>
                </c:pt>
                <c:pt idx="321">
                  <c:v>39488</c:v>
                </c:pt>
                <c:pt idx="322">
                  <c:v>39488</c:v>
                </c:pt>
                <c:pt idx="323">
                  <c:v>39489</c:v>
                </c:pt>
                <c:pt idx="324">
                  <c:v>39489</c:v>
                </c:pt>
                <c:pt idx="325">
                  <c:v>39489</c:v>
                </c:pt>
                <c:pt idx="326">
                  <c:v>39490</c:v>
                </c:pt>
                <c:pt idx="327">
                  <c:v>39490</c:v>
                </c:pt>
                <c:pt idx="328">
                  <c:v>39490</c:v>
                </c:pt>
                <c:pt idx="329">
                  <c:v>39491</c:v>
                </c:pt>
                <c:pt idx="330">
                  <c:v>39493</c:v>
                </c:pt>
                <c:pt idx="331">
                  <c:v>39493</c:v>
                </c:pt>
                <c:pt idx="332">
                  <c:v>39493</c:v>
                </c:pt>
                <c:pt idx="333">
                  <c:v>39493</c:v>
                </c:pt>
                <c:pt idx="334">
                  <c:v>39493</c:v>
                </c:pt>
                <c:pt idx="335">
                  <c:v>39493</c:v>
                </c:pt>
                <c:pt idx="336">
                  <c:v>39493</c:v>
                </c:pt>
                <c:pt idx="337">
                  <c:v>39493</c:v>
                </c:pt>
                <c:pt idx="338">
                  <c:v>39493</c:v>
                </c:pt>
                <c:pt idx="339">
                  <c:v>39493</c:v>
                </c:pt>
                <c:pt idx="340">
                  <c:v>39493</c:v>
                </c:pt>
                <c:pt idx="341">
                  <c:v>39494</c:v>
                </c:pt>
                <c:pt idx="342">
                  <c:v>39494</c:v>
                </c:pt>
                <c:pt idx="343">
                  <c:v>39494</c:v>
                </c:pt>
                <c:pt idx="344">
                  <c:v>39495</c:v>
                </c:pt>
                <c:pt idx="345">
                  <c:v>39495</c:v>
                </c:pt>
                <c:pt idx="346">
                  <c:v>39495</c:v>
                </c:pt>
                <c:pt idx="347">
                  <c:v>39495</c:v>
                </c:pt>
                <c:pt idx="348">
                  <c:v>39495</c:v>
                </c:pt>
                <c:pt idx="349">
                  <c:v>39496</c:v>
                </c:pt>
                <c:pt idx="350">
                  <c:v>39497</c:v>
                </c:pt>
                <c:pt idx="351">
                  <c:v>39497</c:v>
                </c:pt>
                <c:pt idx="352">
                  <c:v>39498</c:v>
                </c:pt>
                <c:pt idx="353">
                  <c:v>39498</c:v>
                </c:pt>
                <c:pt idx="354">
                  <c:v>39498</c:v>
                </c:pt>
                <c:pt idx="355">
                  <c:v>39498</c:v>
                </c:pt>
                <c:pt idx="356">
                  <c:v>39501</c:v>
                </c:pt>
                <c:pt idx="357">
                  <c:v>39501</c:v>
                </c:pt>
                <c:pt idx="358">
                  <c:v>39501</c:v>
                </c:pt>
                <c:pt idx="359">
                  <c:v>39502</c:v>
                </c:pt>
                <c:pt idx="360">
                  <c:v>39503</c:v>
                </c:pt>
                <c:pt idx="361">
                  <c:v>39504</c:v>
                </c:pt>
                <c:pt idx="362">
                  <c:v>39504</c:v>
                </c:pt>
                <c:pt idx="363">
                  <c:v>39504</c:v>
                </c:pt>
                <c:pt idx="364">
                  <c:v>39504</c:v>
                </c:pt>
                <c:pt idx="365">
                  <c:v>39509</c:v>
                </c:pt>
                <c:pt idx="366">
                  <c:v>39514</c:v>
                </c:pt>
                <c:pt idx="367">
                  <c:v>39517</c:v>
                </c:pt>
                <c:pt idx="368">
                  <c:v>39518</c:v>
                </c:pt>
                <c:pt idx="369">
                  <c:v>39518</c:v>
                </c:pt>
                <c:pt idx="370">
                  <c:v>39523</c:v>
                </c:pt>
                <c:pt idx="371">
                  <c:v>39525</c:v>
                </c:pt>
                <c:pt idx="372">
                  <c:v>39526</c:v>
                </c:pt>
                <c:pt idx="373">
                  <c:v>39528</c:v>
                </c:pt>
                <c:pt idx="374">
                  <c:v>39528</c:v>
                </c:pt>
                <c:pt idx="375">
                  <c:v>39528</c:v>
                </c:pt>
                <c:pt idx="376">
                  <c:v>39529</c:v>
                </c:pt>
                <c:pt idx="377">
                  <c:v>39530</c:v>
                </c:pt>
                <c:pt idx="378">
                  <c:v>39531</c:v>
                </c:pt>
                <c:pt idx="379">
                  <c:v>39531</c:v>
                </c:pt>
                <c:pt idx="380">
                  <c:v>39531</c:v>
                </c:pt>
                <c:pt idx="381">
                  <c:v>39531</c:v>
                </c:pt>
                <c:pt idx="382">
                  <c:v>39532</c:v>
                </c:pt>
                <c:pt idx="383">
                  <c:v>39532</c:v>
                </c:pt>
                <c:pt idx="384">
                  <c:v>39537</c:v>
                </c:pt>
                <c:pt idx="385">
                  <c:v>39545</c:v>
                </c:pt>
                <c:pt idx="386">
                  <c:v>39548</c:v>
                </c:pt>
                <c:pt idx="387">
                  <c:v>39548</c:v>
                </c:pt>
                <c:pt idx="388">
                  <c:v>39548</c:v>
                </c:pt>
                <c:pt idx="389">
                  <c:v>39549</c:v>
                </c:pt>
                <c:pt idx="390">
                  <c:v>39550</c:v>
                </c:pt>
                <c:pt idx="391">
                  <c:v>39557</c:v>
                </c:pt>
                <c:pt idx="392">
                  <c:v>39559</c:v>
                </c:pt>
                <c:pt idx="393">
                  <c:v>39567</c:v>
                </c:pt>
                <c:pt idx="394">
                  <c:v>39570</c:v>
                </c:pt>
                <c:pt idx="395">
                  <c:v>39573</c:v>
                </c:pt>
                <c:pt idx="396">
                  <c:v>39574</c:v>
                </c:pt>
                <c:pt idx="397">
                  <c:v>39575</c:v>
                </c:pt>
                <c:pt idx="398">
                  <c:v>39580</c:v>
                </c:pt>
                <c:pt idx="399">
                  <c:v>39587</c:v>
                </c:pt>
                <c:pt idx="400">
                  <c:v>39600</c:v>
                </c:pt>
                <c:pt idx="401">
                  <c:v>39603</c:v>
                </c:pt>
                <c:pt idx="402">
                  <c:v>39630</c:v>
                </c:pt>
                <c:pt idx="403">
                  <c:v>39632</c:v>
                </c:pt>
                <c:pt idx="404">
                  <c:v>39632</c:v>
                </c:pt>
                <c:pt idx="405">
                  <c:v>39635</c:v>
                </c:pt>
                <c:pt idx="406">
                  <c:v>39638</c:v>
                </c:pt>
                <c:pt idx="407">
                  <c:v>39659</c:v>
                </c:pt>
                <c:pt idx="408">
                  <c:v>39665</c:v>
                </c:pt>
                <c:pt idx="409">
                  <c:v>39673</c:v>
                </c:pt>
                <c:pt idx="410">
                  <c:v>39675</c:v>
                </c:pt>
                <c:pt idx="411">
                  <c:v>39676</c:v>
                </c:pt>
                <c:pt idx="412">
                  <c:v>39694</c:v>
                </c:pt>
                <c:pt idx="413">
                  <c:v>39707</c:v>
                </c:pt>
                <c:pt idx="414">
                  <c:v>39722</c:v>
                </c:pt>
                <c:pt idx="415">
                  <c:v>39731</c:v>
                </c:pt>
                <c:pt idx="416">
                  <c:v>39746</c:v>
                </c:pt>
                <c:pt idx="417">
                  <c:v>39747</c:v>
                </c:pt>
                <c:pt idx="418">
                  <c:v>39752</c:v>
                </c:pt>
                <c:pt idx="419">
                  <c:v>39785</c:v>
                </c:pt>
                <c:pt idx="420">
                  <c:v>39799</c:v>
                </c:pt>
                <c:pt idx="421">
                  <c:v>39827</c:v>
                </c:pt>
                <c:pt idx="422">
                  <c:v>39830</c:v>
                </c:pt>
                <c:pt idx="423">
                  <c:v>39856</c:v>
                </c:pt>
                <c:pt idx="424">
                  <c:v>39868</c:v>
                </c:pt>
                <c:pt idx="425">
                  <c:v>39883</c:v>
                </c:pt>
                <c:pt idx="426">
                  <c:v>39959</c:v>
                </c:pt>
                <c:pt idx="427">
                  <c:v>39998</c:v>
                </c:pt>
                <c:pt idx="428">
                  <c:v>40033</c:v>
                </c:pt>
                <c:pt idx="429">
                  <c:v>40110</c:v>
                </c:pt>
                <c:pt idx="430">
                  <c:v>40160</c:v>
                </c:pt>
                <c:pt idx="431">
                  <c:v>40179</c:v>
                </c:pt>
                <c:pt idx="432">
                  <c:v>40189</c:v>
                </c:pt>
                <c:pt idx="433">
                  <c:v>40270</c:v>
                </c:pt>
                <c:pt idx="434">
                  <c:v>40325</c:v>
                </c:pt>
                <c:pt idx="435">
                  <c:v>40369</c:v>
                </c:pt>
                <c:pt idx="436">
                  <c:v>40423</c:v>
                </c:pt>
                <c:pt idx="437">
                  <c:v>40474</c:v>
                </c:pt>
                <c:pt idx="438">
                  <c:v>40507</c:v>
                </c:pt>
                <c:pt idx="439">
                  <c:v>40535</c:v>
                </c:pt>
                <c:pt idx="440">
                  <c:v>40634</c:v>
                </c:pt>
                <c:pt idx="441">
                  <c:v>40700</c:v>
                </c:pt>
                <c:pt idx="442">
                  <c:v>40737</c:v>
                </c:pt>
                <c:pt idx="443">
                  <c:v>40834</c:v>
                </c:pt>
                <c:pt idx="444">
                  <c:v>40971</c:v>
                </c:pt>
                <c:pt idx="445">
                  <c:v>41008</c:v>
                </c:pt>
                <c:pt idx="446">
                  <c:v>41024</c:v>
                </c:pt>
                <c:pt idx="447">
                  <c:v>41142</c:v>
                </c:pt>
                <c:pt idx="448">
                  <c:v>41209</c:v>
                </c:pt>
                <c:pt idx="449">
                  <c:v>41297</c:v>
                </c:pt>
                <c:pt idx="450">
                  <c:v>41375</c:v>
                </c:pt>
                <c:pt idx="451">
                  <c:v>41475</c:v>
                </c:pt>
                <c:pt idx="452">
                  <c:v>41502</c:v>
                </c:pt>
                <c:pt idx="453">
                  <c:v>41517</c:v>
                </c:pt>
                <c:pt idx="454">
                  <c:v>41602</c:v>
                </c:pt>
                <c:pt idx="455">
                  <c:v>41664</c:v>
                </c:pt>
                <c:pt idx="456">
                  <c:v>41735</c:v>
                </c:pt>
                <c:pt idx="457">
                  <c:v>41798</c:v>
                </c:pt>
                <c:pt idx="458">
                  <c:v>41840</c:v>
                </c:pt>
                <c:pt idx="459">
                  <c:v>41899</c:v>
                </c:pt>
                <c:pt idx="460">
                  <c:v>41915</c:v>
                </c:pt>
                <c:pt idx="461">
                  <c:v>41992</c:v>
                </c:pt>
                <c:pt idx="462">
                  <c:v>42049</c:v>
                </c:pt>
                <c:pt idx="463">
                  <c:v>42101</c:v>
                </c:pt>
                <c:pt idx="464">
                  <c:v>42157</c:v>
                </c:pt>
                <c:pt idx="465">
                  <c:v>42204</c:v>
                </c:pt>
                <c:pt idx="466">
                  <c:v>42223</c:v>
                </c:pt>
                <c:pt idx="467">
                  <c:v>42231</c:v>
                </c:pt>
                <c:pt idx="468">
                  <c:v>42277</c:v>
                </c:pt>
                <c:pt idx="469">
                  <c:v>42340</c:v>
                </c:pt>
                <c:pt idx="470">
                  <c:v>42383</c:v>
                </c:pt>
                <c:pt idx="471">
                  <c:v>42407</c:v>
                </c:pt>
                <c:pt idx="472">
                  <c:v>42433</c:v>
                </c:pt>
                <c:pt idx="473">
                  <c:v>42443</c:v>
                </c:pt>
                <c:pt idx="474">
                  <c:v>42456</c:v>
                </c:pt>
                <c:pt idx="475">
                  <c:v>42495</c:v>
                </c:pt>
                <c:pt idx="476">
                  <c:v>42515</c:v>
                </c:pt>
                <c:pt idx="477">
                  <c:v>42526</c:v>
                </c:pt>
                <c:pt idx="478">
                  <c:v>42535</c:v>
                </c:pt>
                <c:pt idx="479">
                  <c:v>42542</c:v>
                </c:pt>
                <c:pt idx="480">
                  <c:v>42550</c:v>
                </c:pt>
                <c:pt idx="481">
                  <c:v>42555</c:v>
                </c:pt>
                <c:pt idx="482">
                  <c:v>42575</c:v>
                </c:pt>
                <c:pt idx="483">
                  <c:v>42598</c:v>
                </c:pt>
                <c:pt idx="484">
                  <c:v>42611</c:v>
                </c:pt>
                <c:pt idx="485">
                  <c:v>42622</c:v>
                </c:pt>
                <c:pt idx="486">
                  <c:v>42638</c:v>
                </c:pt>
                <c:pt idx="487">
                  <c:v>42640</c:v>
                </c:pt>
                <c:pt idx="488">
                  <c:v>42643</c:v>
                </c:pt>
                <c:pt idx="489">
                  <c:v>42666</c:v>
                </c:pt>
                <c:pt idx="490">
                  <c:v>42685</c:v>
                </c:pt>
                <c:pt idx="491">
                  <c:v>42696</c:v>
                </c:pt>
                <c:pt idx="492">
                  <c:v>42711</c:v>
                </c:pt>
                <c:pt idx="493">
                  <c:v>42728</c:v>
                </c:pt>
                <c:pt idx="494">
                  <c:v>42732</c:v>
                </c:pt>
                <c:pt idx="495">
                  <c:v>42737</c:v>
                </c:pt>
                <c:pt idx="496">
                  <c:v>42756</c:v>
                </c:pt>
                <c:pt idx="497">
                  <c:v>42775</c:v>
                </c:pt>
                <c:pt idx="498">
                  <c:v>42786</c:v>
                </c:pt>
                <c:pt idx="499">
                  <c:v>42803</c:v>
                </c:pt>
                <c:pt idx="500">
                  <c:v>42822</c:v>
                </c:pt>
                <c:pt idx="501">
                  <c:v>42828</c:v>
                </c:pt>
                <c:pt idx="502">
                  <c:v>42841</c:v>
                </c:pt>
                <c:pt idx="503">
                  <c:v>42899</c:v>
                </c:pt>
                <c:pt idx="504">
                  <c:v>42932</c:v>
                </c:pt>
                <c:pt idx="505">
                  <c:v>42974</c:v>
                </c:pt>
                <c:pt idx="506">
                  <c:v>43050</c:v>
                </c:pt>
                <c:pt idx="507">
                  <c:v>43124</c:v>
                </c:pt>
                <c:pt idx="508">
                  <c:v>43165</c:v>
                </c:pt>
                <c:pt idx="509">
                  <c:v>43195</c:v>
                </c:pt>
                <c:pt idx="510">
                  <c:v>43275</c:v>
                </c:pt>
                <c:pt idx="511">
                  <c:v>43423</c:v>
                </c:pt>
                <c:pt idx="512">
                  <c:v>43583</c:v>
                </c:pt>
                <c:pt idx="513">
                  <c:v>43683</c:v>
                </c:pt>
                <c:pt idx="514">
                  <c:v>437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16</c:f>
              <c:numCache>
                <c:formatCode>m/d/yyyy</c:formatCode>
                <c:ptCount val="5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</c:numCache>
            </c:numRef>
          </c:cat>
          <c:val>
            <c:numRef>
              <c:f>List1!$B$2:$B$516</c:f>
              <c:numCache>
                <c:formatCode>General</c:formatCode>
                <c:ptCount val="515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1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7</c:v>
                </c:pt>
                <c:pt idx="31">
                  <c:v>122</c:v>
                </c:pt>
                <c:pt idx="32">
                  <c:v>157</c:v>
                </c:pt>
                <c:pt idx="33">
                  <c:v>209</c:v>
                </c:pt>
                <c:pt idx="34">
                  <c:v>366</c:v>
                </c:pt>
                <c:pt idx="35">
                  <c:v>437</c:v>
                </c:pt>
                <c:pt idx="36">
                  <c:v>475</c:v>
                </c:pt>
                <c:pt idx="37">
                  <c:v>543</c:v>
                </c:pt>
                <c:pt idx="38">
                  <c:v>675</c:v>
                </c:pt>
                <c:pt idx="39">
                  <c:v>695</c:v>
                </c:pt>
                <c:pt idx="40">
                  <c:v>664</c:v>
                </c:pt>
                <c:pt idx="41">
                  <c:v>775</c:v>
                </c:pt>
                <c:pt idx="42">
                  <c:v>947</c:v>
                </c:pt>
                <c:pt idx="43">
                  <c:v>1077</c:v>
                </c:pt>
                <c:pt idx="44">
                  <c:v>1247</c:v>
                </c:pt>
                <c:pt idx="45">
                  <c:v>1375</c:v>
                </c:pt>
                <c:pt idx="46">
                  <c:v>1451</c:v>
                </c:pt>
                <c:pt idx="47">
                  <c:v>1405</c:v>
                </c:pt>
                <c:pt idx="48">
                  <c:v>1575</c:v>
                </c:pt>
                <c:pt idx="49">
                  <c:v>1687</c:v>
                </c:pt>
                <c:pt idx="50">
                  <c:v>1965</c:v>
                </c:pt>
                <c:pt idx="51">
                  <c:v>2122</c:v>
                </c:pt>
                <c:pt idx="52">
                  <c:v>2410</c:v>
                </c:pt>
                <c:pt idx="53">
                  <c:v>2491</c:v>
                </c:pt>
                <c:pt idx="54">
                  <c:v>2534</c:v>
                </c:pt>
                <c:pt idx="55">
                  <c:v>2715</c:v>
                </c:pt>
                <c:pt idx="56">
                  <c:v>3046</c:v>
                </c:pt>
                <c:pt idx="57">
                  <c:v>3072</c:v>
                </c:pt>
                <c:pt idx="58">
                  <c:v>3513</c:v>
                </c:pt>
                <c:pt idx="59">
                  <c:v>3810</c:v>
                </c:pt>
                <c:pt idx="60">
                  <c:v>3897</c:v>
                </c:pt>
                <c:pt idx="61">
                  <c:v>3792</c:v>
                </c:pt>
                <c:pt idx="62">
                  <c:v>3854</c:v>
                </c:pt>
                <c:pt idx="63">
                  <c:v>3781</c:v>
                </c:pt>
                <c:pt idx="64">
                  <c:v>3992</c:v>
                </c:pt>
                <c:pt idx="65">
                  <c:v>4322</c:v>
                </c:pt>
                <c:pt idx="66">
                  <c:v>4182</c:v>
                </c:pt>
                <c:pt idx="67">
                  <c:v>3833</c:v>
                </c:pt>
                <c:pt idx="68">
                  <c:v>3751</c:v>
                </c:pt>
                <c:pt idx="69">
                  <c:v>3507</c:v>
                </c:pt>
                <c:pt idx="70">
                  <c:v>3387</c:v>
                </c:pt>
                <c:pt idx="71">
                  <c:v>3806</c:v>
                </c:pt>
                <c:pt idx="72">
                  <c:v>4186</c:v>
                </c:pt>
                <c:pt idx="73">
                  <c:v>4235</c:v>
                </c:pt>
                <c:pt idx="74">
                  <c:v>3892</c:v>
                </c:pt>
                <c:pt idx="75">
                  <c:v>3780</c:v>
                </c:pt>
                <c:pt idx="76">
                  <c:v>3794</c:v>
                </c:pt>
                <c:pt idx="77">
                  <c:v>3579</c:v>
                </c:pt>
                <c:pt idx="78">
                  <c:v>3767</c:v>
                </c:pt>
                <c:pt idx="79">
                  <c:v>3915</c:v>
                </c:pt>
                <c:pt idx="80">
                  <c:v>3973</c:v>
                </c:pt>
                <c:pt idx="81">
                  <c:v>3593</c:v>
                </c:pt>
                <c:pt idx="82">
                  <c:v>3318</c:v>
                </c:pt>
                <c:pt idx="83">
                  <c:v>3444</c:v>
                </c:pt>
                <c:pt idx="84">
                  <c:v>3158</c:v>
                </c:pt>
                <c:pt idx="85">
                  <c:v>3152</c:v>
                </c:pt>
                <c:pt idx="86">
                  <c:v>3245</c:v>
                </c:pt>
                <c:pt idx="87">
                  <c:v>3010</c:v>
                </c:pt>
                <c:pt idx="88">
                  <c:v>2978</c:v>
                </c:pt>
                <c:pt idx="89">
                  <c:v>2720</c:v>
                </c:pt>
                <c:pt idx="90">
                  <c:v>2623</c:v>
                </c:pt>
                <c:pt idx="91">
                  <c:v>2438</c:v>
                </c:pt>
                <c:pt idx="92">
                  <c:v>2471</c:v>
                </c:pt>
                <c:pt idx="93">
                  <c:v>2529</c:v>
                </c:pt>
                <c:pt idx="94">
                  <c:v>2419</c:v>
                </c:pt>
                <c:pt idx="95">
                  <c:v>2251</c:v>
                </c:pt>
                <c:pt idx="96">
                  <c:v>2097</c:v>
                </c:pt>
                <c:pt idx="97">
                  <c:v>2049</c:v>
                </c:pt>
                <c:pt idx="98">
                  <c:v>1904</c:v>
                </c:pt>
                <c:pt idx="99">
                  <c:v>1959</c:v>
                </c:pt>
                <c:pt idx="100">
                  <c:v>2009</c:v>
                </c:pt>
                <c:pt idx="101">
                  <c:v>1997</c:v>
                </c:pt>
                <c:pt idx="102">
                  <c:v>1904</c:v>
                </c:pt>
                <c:pt idx="103">
                  <c:v>1858</c:v>
                </c:pt>
                <c:pt idx="104">
                  <c:v>1866</c:v>
                </c:pt>
                <c:pt idx="105">
                  <c:v>1847</c:v>
                </c:pt>
                <c:pt idx="106">
                  <c:v>1848</c:v>
                </c:pt>
                <c:pt idx="107">
                  <c:v>1852</c:v>
                </c:pt>
                <c:pt idx="108">
                  <c:v>1903</c:v>
                </c:pt>
                <c:pt idx="109">
                  <c:v>1773</c:v>
                </c:pt>
                <c:pt idx="110">
                  <c:v>1706</c:v>
                </c:pt>
                <c:pt idx="111">
                  <c:v>1756</c:v>
                </c:pt>
                <c:pt idx="112">
                  <c:v>1768</c:v>
                </c:pt>
                <c:pt idx="113">
                  <c:v>1791</c:v>
                </c:pt>
                <c:pt idx="114">
                  <c:v>1757</c:v>
                </c:pt>
                <c:pt idx="115">
                  <c:v>1655</c:v>
                </c:pt>
                <c:pt idx="116">
                  <c:v>1630</c:v>
                </c:pt>
                <c:pt idx="117">
                  <c:v>1630</c:v>
                </c:pt>
                <c:pt idx="118">
                  <c:v>1675</c:v>
                </c:pt>
                <c:pt idx="119">
                  <c:v>1722</c:v>
                </c:pt>
                <c:pt idx="120">
                  <c:v>1820</c:v>
                </c:pt>
                <c:pt idx="121">
                  <c:v>1902</c:v>
                </c:pt>
                <c:pt idx="122">
                  <c:v>1768</c:v>
                </c:pt>
                <c:pt idx="123">
                  <c:v>1735</c:v>
                </c:pt>
                <c:pt idx="124">
                  <c:v>1570</c:v>
                </c:pt>
                <c:pt idx="125">
                  <c:v>1801</c:v>
                </c:pt>
                <c:pt idx="126">
                  <c:v>1891</c:v>
                </c:pt>
                <c:pt idx="127">
                  <c:v>1978</c:v>
                </c:pt>
                <c:pt idx="128">
                  <c:v>2120</c:v>
                </c:pt>
                <c:pt idx="129">
                  <c:v>2124</c:v>
                </c:pt>
                <c:pt idx="130">
                  <c:v>1989</c:v>
                </c:pt>
                <c:pt idx="131">
                  <c:v>1843</c:v>
                </c:pt>
                <c:pt idx="132">
                  <c:v>1985</c:v>
                </c:pt>
                <c:pt idx="133">
                  <c:v>2048</c:v>
                </c:pt>
                <c:pt idx="134">
                  <c:v>2151</c:v>
                </c:pt>
                <c:pt idx="135">
                  <c:v>2198</c:v>
                </c:pt>
                <c:pt idx="136">
                  <c:v>2114</c:v>
                </c:pt>
                <c:pt idx="137">
                  <c:v>1919</c:v>
                </c:pt>
                <c:pt idx="138">
                  <c:v>1763</c:v>
                </c:pt>
                <c:pt idx="139">
                  <c:v>1704</c:v>
                </c:pt>
                <c:pt idx="140">
                  <c:v>1590</c:v>
                </c:pt>
                <c:pt idx="141">
                  <c:v>1676</c:v>
                </c:pt>
                <c:pt idx="142">
                  <c:v>1746</c:v>
                </c:pt>
                <c:pt idx="143">
                  <c:v>1618</c:v>
                </c:pt>
                <c:pt idx="144">
                  <c:v>1550</c:v>
                </c:pt>
                <c:pt idx="145">
                  <c:v>1450</c:v>
                </c:pt>
                <c:pt idx="146">
                  <c:v>1410</c:v>
                </c:pt>
                <c:pt idx="147">
                  <c:v>1356</c:v>
                </c:pt>
                <c:pt idx="148">
                  <c:v>1408</c:v>
                </c:pt>
                <c:pt idx="149">
                  <c:v>1445</c:v>
                </c:pt>
                <c:pt idx="150">
                  <c:v>1303</c:v>
                </c:pt>
                <c:pt idx="151">
                  <c:v>1261</c:v>
                </c:pt>
                <c:pt idx="152">
                  <c:v>1125</c:v>
                </c:pt>
                <c:pt idx="153">
                  <c:v>1152</c:v>
                </c:pt>
                <c:pt idx="154">
                  <c:v>1174</c:v>
                </c:pt>
                <c:pt idx="155">
                  <c:v>1229</c:v>
                </c:pt>
                <c:pt idx="156">
                  <c:v>1258</c:v>
                </c:pt>
                <c:pt idx="157">
                  <c:v>1229</c:v>
                </c:pt>
                <c:pt idx="158">
                  <c:v>1169</c:v>
                </c:pt>
                <c:pt idx="159">
                  <c:v>1113</c:v>
                </c:pt>
                <c:pt idx="160">
                  <c:v>1128</c:v>
                </c:pt>
                <c:pt idx="161">
                  <c:v>1122</c:v>
                </c:pt>
                <c:pt idx="162">
                  <c:v>1161</c:v>
                </c:pt>
                <c:pt idx="163">
                  <c:v>1207</c:v>
                </c:pt>
                <c:pt idx="164">
                  <c:v>1173</c:v>
                </c:pt>
                <c:pt idx="165">
                  <c:v>1051</c:v>
                </c:pt>
                <c:pt idx="166">
                  <c:v>959</c:v>
                </c:pt>
                <c:pt idx="167">
                  <c:v>938</c:v>
                </c:pt>
                <c:pt idx="168">
                  <c:v>853</c:v>
                </c:pt>
                <c:pt idx="169">
                  <c:v>832</c:v>
                </c:pt>
                <c:pt idx="170">
                  <c:v>847</c:v>
                </c:pt>
                <c:pt idx="171">
                  <c:v>788</c:v>
                </c:pt>
                <c:pt idx="172">
                  <c:v>726</c:v>
                </c:pt>
                <c:pt idx="173">
                  <c:v>654</c:v>
                </c:pt>
                <c:pt idx="174">
                  <c:v>697</c:v>
                </c:pt>
                <c:pt idx="175">
                  <c:v>672</c:v>
                </c:pt>
                <c:pt idx="176">
                  <c:v>682</c:v>
                </c:pt>
                <c:pt idx="177">
                  <c:v>712</c:v>
                </c:pt>
                <c:pt idx="178">
                  <c:v>700</c:v>
                </c:pt>
                <c:pt idx="179">
                  <c:v>669</c:v>
                </c:pt>
                <c:pt idx="180">
                  <c:v>649</c:v>
                </c:pt>
                <c:pt idx="181">
                  <c:v>697</c:v>
                </c:pt>
                <c:pt idx="182">
                  <c:v>663</c:v>
                </c:pt>
                <c:pt idx="183">
                  <c:v>671</c:v>
                </c:pt>
                <c:pt idx="184">
                  <c:v>664</c:v>
                </c:pt>
                <c:pt idx="185">
                  <c:v>597</c:v>
                </c:pt>
                <c:pt idx="186">
                  <c:v>568</c:v>
                </c:pt>
                <c:pt idx="187">
                  <c:v>524</c:v>
                </c:pt>
                <c:pt idx="188">
                  <c:v>519</c:v>
                </c:pt>
                <c:pt idx="189">
                  <c:v>543</c:v>
                </c:pt>
                <c:pt idx="190">
                  <c:v>584</c:v>
                </c:pt>
                <c:pt idx="191">
                  <c:v>583</c:v>
                </c:pt>
                <c:pt idx="192">
                  <c:v>604</c:v>
                </c:pt>
                <c:pt idx="193">
                  <c:v>601</c:v>
                </c:pt>
                <c:pt idx="194">
                  <c:v>601</c:v>
                </c:pt>
                <c:pt idx="195">
                  <c:v>625</c:v>
                </c:pt>
                <c:pt idx="196">
                  <c:v>561</c:v>
                </c:pt>
                <c:pt idx="197">
                  <c:v>540</c:v>
                </c:pt>
                <c:pt idx="198">
                  <c:v>527</c:v>
                </c:pt>
                <c:pt idx="199">
                  <c:v>527</c:v>
                </c:pt>
                <c:pt idx="200">
                  <c:v>507</c:v>
                </c:pt>
                <c:pt idx="201">
                  <c:v>506</c:v>
                </c:pt>
                <c:pt idx="202">
                  <c:v>511</c:v>
                </c:pt>
                <c:pt idx="203">
                  <c:v>513</c:v>
                </c:pt>
                <c:pt idx="204">
                  <c:v>478</c:v>
                </c:pt>
                <c:pt idx="205">
                  <c:v>474</c:v>
                </c:pt>
                <c:pt idx="206">
                  <c:v>456</c:v>
                </c:pt>
                <c:pt idx="207">
                  <c:v>422</c:v>
                </c:pt>
                <c:pt idx="208">
                  <c:v>421</c:v>
                </c:pt>
                <c:pt idx="209">
                  <c:v>433</c:v>
                </c:pt>
                <c:pt idx="210">
                  <c:v>402</c:v>
                </c:pt>
                <c:pt idx="211">
                  <c:v>395</c:v>
                </c:pt>
                <c:pt idx="212">
                  <c:v>378</c:v>
                </c:pt>
                <c:pt idx="213">
                  <c:v>350</c:v>
                </c:pt>
                <c:pt idx="214">
                  <c:v>340</c:v>
                </c:pt>
                <c:pt idx="215">
                  <c:v>338</c:v>
                </c:pt>
                <c:pt idx="216">
                  <c:v>336</c:v>
                </c:pt>
                <c:pt idx="217">
                  <c:v>306</c:v>
                </c:pt>
                <c:pt idx="218">
                  <c:v>303</c:v>
                </c:pt>
                <c:pt idx="219">
                  <c:v>288</c:v>
                </c:pt>
                <c:pt idx="220">
                  <c:v>259</c:v>
                </c:pt>
                <c:pt idx="221">
                  <c:v>254</c:v>
                </c:pt>
                <c:pt idx="222">
                  <c:v>253</c:v>
                </c:pt>
                <c:pt idx="223">
                  <c:v>253</c:v>
                </c:pt>
                <c:pt idx="224">
                  <c:v>242</c:v>
                </c:pt>
                <c:pt idx="225">
                  <c:v>220</c:v>
                </c:pt>
                <c:pt idx="226">
                  <c:v>211</c:v>
                </c:pt>
                <c:pt idx="227">
                  <c:v>195</c:v>
                </c:pt>
                <c:pt idx="228">
                  <c:v>193</c:v>
                </c:pt>
                <c:pt idx="229">
                  <c:v>194</c:v>
                </c:pt>
                <c:pt idx="230">
                  <c:v>198</c:v>
                </c:pt>
                <c:pt idx="231">
                  <c:v>192</c:v>
                </c:pt>
                <c:pt idx="232">
                  <c:v>185</c:v>
                </c:pt>
                <c:pt idx="233">
                  <c:v>184</c:v>
                </c:pt>
                <c:pt idx="234">
                  <c:v>187</c:v>
                </c:pt>
                <c:pt idx="235">
                  <c:v>180</c:v>
                </c:pt>
                <c:pt idx="236">
                  <c:v>179</c:v>
                </c:pt>
                <c:pt idx="237">
                  <c:v>179</c:v>
                </c:pt>
                <c:pt idx="238">
                  <c:v>178</c:v>
                </c:pt>
                <c:pt idx="239">
                  <c:v>177</c:v>
                </c:pt>
                <c:pt idx="240">
                  <c:v>176</c:v>
                </c:pt>
                <c:pt idx="241">
                  <c:v>176</c:v>
                </c:pt>
                <c:pt idx="242">
                  <c:v>170</c:v>
                </c:pt>
                <c:pt idx="243">
                  <c:v>170</c:v>
                </c:pt>
                <c:pt idx="244">
                  <c:v>171</c:v>
                </c:pt>
                <c:pt idx="245">
                  <c:v>167</c:v>
                </c:pt>
                <c:pt idx="246">
                  <c:v>163</c:v>
                </c:pt>
                <c:pt idx="247">
                  <c:v>157</c:v>
                </c:pt>
                <c:pt idx="248">
                  <c:v>156</c:v>
                </c:pt>
                <c:pt idx="249">
                  <c:v>150</c:v>
                </c:pt>
                <c:pt idx="250">
                  <c:v>153</c:v>
                </c:pt>
                <c:pt idx="251">
                  <c:v>157</c:v>
                </c:pt>
                <c:pt idx="252">
                  <c:v>157</c:v>
                </c:pt>
                <c:pt idx="253">
                  <c:v>154</c:v>
                </c:pt>
                <c:pt idx="254">
                  <c:v>153</c:v>
                </c:pt>
                <c:pt idx="255">
                  <c:v>152</c:v>
                </c:pt>
                <c:pt idx="256">
                  <c:v>150</c:v>
                </c:pt>
                <c:pt idx="257">
                  <c:v>149</c:v>
                </c:pt>
                <c:pt idx="258">
                  <c:v>151</c:v>
                </c:pt>
                <c:pt idx="259">
                  <c:v>147</c:v>
                </c:pt>
                <c:pt idx="260">
                  <c:v>149</c:v>
                </c:pt>
                <c:pt idx="261">
                  <c:v>146</c:v>
                </c:pt>
                <c:pt idx="262">
                  <c:v>146</c:v>
                </c:pt>
                <c:pt idx="263">
                  <c:v>145</c:v>
                </c:pt>
                <c:pt idx="264">
                  <c:v>144</c:v>
                </c:pt>
                <c:pt idx="265">
                  <c:v>145</c:v>
                </c:pt>
                <c:pt idx="266">
                  <c:v>144</c:v>
                </c:pt>
                <c:pt idx="267">
                  <c:v>143</c:v>
                </c:pt>
                <c:pt idx="268">
                  <c:v>141</c:v>
                </c:pt>
                <c:pt idx="269">
                  <c:v>140</c:v>
                </c:pt>
                <c:pt idx="270">
                  <c:v>140</c:v>
                </c:pt>
                <c:pt idx="271">
                  <c:v>137</c:v>
                </c:pt>
                <c:pt idx="272">
                  <c:v>136</c:v>
                </c:pt>
                <c:pt idx="273">
                  <c:v>135</c:v>
                </c:pt>
                <c:pt idx="274">
                  <c:v>138</c:v>
                </c:pt>
                <c:pt idx="275">
                  <c:v>134</c:v>
                </c:pt>
                <c:pt idx="276">
                  <c:v>130</c:v>
                </c:pt>
                <c:pt idx="277">
                  <c:v>129</c:v>
                </c:pt>
                <c:pt idx="278">
                  <c:v>129</c:v>
                </c:pt>
                <c:pt idx="279">
                  <c:v>129</c:v>
                </c:pt>
                <c:pt idx="280">
                  <c:v>129</c:v>
                </c:pt>
                <c:pt idx="281">
                  <c:v>128</c:v>
                </c:pt>
                <c:pt idx="282">
                  <c:v>127</c:v>
                </c:pt>
                <c:pt idx="283">
                  <c:v>128</c:v>
                </c:pt>
                <c:pt idx="284">
                  <c:v>125</c:v>
                </c:pt>
                <c:pt idx="285">
                  <c:v>125</c:v>
                </c:pt>
                <c:pt idx="286">
                  <c:v>125</c:v>
                </c:pt>
                <c:pt idx="287">
                  <c:v>125</c:v>
                </c:pt>
                <c:pt idx="288">
                  <c:v>125</c:v>
                </c:pt>
                <c:pt idx="289">
                  <c:v>125</c:v>
                </c:pt>
                <c:pt idx="290">
                  <c:v>125</c:v>
                </c:pt>
                <c:pt idx="291">
                  <c:v>125</c:v>
                </c:pt>
                <c:pt idx="292">
                  <c:v>125</c:v>
                </c:pt>
                <c:pt idx="293">
                  <c:v>125</c:v>
                </c:pt>
                <c:pt idx="294">
                  <c:v>125</c:v>
                </c:pt>
                <c:pt idx="295">
                  <c:v>126</c:v>
                </c:pt>
                <c:pt idx="296">
                  <c:v>126</c:v>
                </c:pt>
                <c:pt idx="297">
                  <c:v>125</c:v>
                </c:pt>
                <c:pt idx="298">
                  <c:v>125</c:v>
                </c:pt>
                <c:pt idx="299">
                  <c:v>125</c:v>
                </c:pt>
                <c:pt idx="300">
                  <c:v>125</c:v>
                </c:pt>
                <c:pt idx="301">
                  <c:v>125</c:v>
                </c:pt>
                <c:pt idx="302">
                  <c:v>124</c:v>
                </c:pt>
                <c:pt idx="303">
                  <c:v>125</c:v>
                </c:pt>
                <c:pt idx="304">
                  <c:v>123</c:v>
                </c:pt>
                <c:pt idx="305">
                  <c:v>123</c:v>
                </c:pt>
                <c:pt idx="306">
                  <c:v>124</c:v>
                </c:pt>
                <c:pt idx="307">
                  <c:v>124</c:v>
                </c:pt>
                <c:pt idx="308">
                  <c:v>124</c:v>
                </c:pt>
                <c:pt idx="309">
                  <c:v>124</c:v>
                </c:pt>
                <c:pt idx="310">
                  <c:v>123</c:v>
                </c:pt>
                <c:pt idx="311">
                  <c:v>123</c:v>
                </c:pt>
                <c:pt idx="312">
                  <c:v>123</c:v>
                </c:pt>
                <c:pt idx="313">
                  <c:v>123</c:v>
                </c:pt>
                <c:pt idx="314">
                  <c:v>123</c:v>
                </c:pt>
                <c:pt idx="315">
                  <c:v>123</c:v>
                </c:pt>
                <c:pt idx="316">
                  <c:v>123</c:v>
                </c:pt>
                <c:pt idx="317">
                  <c:v>123</c:v>
                </c:pt>
                <c:pt idx="318">
                  <c:v>123</c:v>
                </c:pt>
                <c:pt idx="319">
                  <c:v>123</c:v>
                </c:pt>
                <c:pt idx="320">
                  <c:v>123</c:v>
                </c:pt>
                <c:pt idx="321">
                  <c:v>123</c:v>
                </c:pt>
                <c:pt idx="322">
                  <c:v>122</c:v>
                </c:pt>
                <c:pt idx="323">
                  <c:v>122</c:v>
                </c:pt>
                <c:pt idx="324">
                  <c:v>122</c:v>
                </c:pt>
                <c:pt idx="325">
                  <c:v>122</c:v>
                </c:pt>
                <c:pt idx="326">
                  <c:v>123</c:v>
                </c:pt>
                <c:pt idx="327">
                  <c:v>122</c:v>
                </c:pt>
                <c:pt idx="328">
                  <c:v>122</c:v>
                </c:pt>
                <c:pt idx="329">
                  <c:v>122</c:v>
                </c:pt>
                <c:pt idx="330">
                  <c:v>122</c:v>
                </c:pt>
                <c:pt idx="331">
                  <c:v>122</c:v>
                </c:pt>
                <c:pt idx="332">
                  <c:v>121</c:v>
                </c:pt>
                <c:pt idx="333">
                  <c:v>121</c:v>
                </c:pt>
                <c:pt idx="334">
                  <c:v>121</c:v>
                </c:pt>
                <c:pt idx="335">
                  <c:v>121</c:v>
                </c:pt>
                <c:pt idx="336">
                  <c:v>120</c:v>
                </c:pt>
                <c:pt idx="337">
                  <c:v>120</c:v>
                </c:pt>
                <c:pt idx="338">
                  <c:v>120</c:v>
                </c:pt>
                <c:pt idx="339">
                  <c:v>120</c:v>
                </c:pt>
                <c:pt idx="340">
                  <c:v>120</c:v>
                </c:pt>
                <c:pt idx="341">
                  <c:v>120</c:v>
                </c:pt>
                <c:pt idx="342">
                  <c:v>120</c:v>
                </c:pt>
                <c:pt idx="343">
                  <c:v>120</c:v>
                </c:pt>
                <c:pt idx="344">
                  <c:v>120</c:v>
                </c:pt>
                <c:pt idx="345">
                  <c:v>120</c:v>
                </c:pt>
                <c:pt idx="346">
                  <c:v>120</c:v>
                </c:pt>
                <c:pt idx="347">
                  <c:v>120</c:v>
                </c:pt>
                <c:pt idx="348">
                  <c:v>120</c:v>
                </c:pt>
                <c:pt idx="349">
                  <c:v>121</c:v>
                </c:pt>
                <c:pt idx="350">
                  <c:v>122</c:v>
                </c:pt>
                <c:pt idx="351">
                  <c:v>122</c:v>
                </c:pt>
                <c:pt idx="352">
                  <c:v>123</c:v>
                </c:pt>
                <c:pt idx="353">
                  <c:v>122</c:v>
                </c:pt>
                <c:pt idx="354">
                  <c:v>122</c:v>
                </c:pt>
                <c:pt idx="355">
                  <c:v>122</c:v>
                </c:pt>
                <c:pt idx="356">
                  <c:v>124</c:v>
                </c:pt>
                <c:pt idx="357">
                  <c:v>124</c:v>
                </c:pt>
                <c:pt idx="358">
                  <c:v>124</c:v>
                </c:pt>
                <c:pt idx="359">
                  <c:v>124</c:v>
                </c:pt>
                <c:pt idx="360">
                  <c:v>124</c:v>
                </c:pt>
                <c:pt idx="361">
                  <c:v>123</c:v>
                </c:pt>
                <c:pt idx="362">
                  <c:v>123</c:v>
                </c:pt>
                <c:pt idx="363">
                  <c:v>123</c:v>
                </c:pt>
                <c:pt idx="364">
                  <c:v>123</c:v>
                </c:pt>
                <c:pt idx="365">
                  <c:v>124</c:v>
                </c:pt>
                <c:pt idx="366">
                  <c:v>128</c:v>
                </c:pt>
                <c:pt idx="367">
                  <c:v>130</c:v>
                </c:pt>
                <c:pt idx="368">
                  <c:v>131</c:v>
                </c:pt>
                <c:pt idx="369">
                  <c:v>130</c:v>
                </c:pt>
                <c:pt idx="370">
                  <c:v>134</c:v>
                </c:pt>
                <c:pt idx="371">
                  <c:v>131</c:v>
                </c:pt>
                <c:pt idx="372">
                  <c:v>131</c:v>
                </c:pt>
                <c:pt idx="373">
                  <c:v>131</c:v>
                </c:pt>
                <c:pt idx="374">
                  <c:v>131</c:v>
                </c:pt>
                <c:pt idx="375">
                  <c:v>131</c:v>
                </c:pt>
                <c:pt idx="376">
                  <c:v>131</c:v>
                </c:pt>
                <c:pt idx="377">
                  <c:v>132</c:v>
                </c:pt>
                <c:pt idx="378">
                  <c:v>132</c:v>
                </c:pt>
                <c:pt idx="379">
                  <c:v>132</c:v>
                </c:pt>
                <c:pt idx="380">
                  <c:v>131</c:v>
                </c:pt>
                <c:pt idx="381">
                  <c:v>129</c:v>
                </c:pt>
                <c:pt idx="382">
                  <c:v>129</c:v>
                </c:pt>
                <c:pt idx="383">
                  <c:v>129</c:v>
                </c:pt>
                <c:pt idx="384">
                  <c:v>130</c:v>
                </c:pt>
                <c:pt idx="385">
                  <c:v>127</c:v>
                </c:pt>
                <c:pt idx="386">
                  <c:v>127</c:v>
                </c:pt>
                <c:pt idx="387">
                  <c:v>125</c:v>
                </c:pt>
                <c:pt idx="388">
                  <c:v>125</c:v>
                </c:pt>
                <c:pt idx="389">
                  <c:v>125</c:v>
                </c:pt>
                <c:pt idx="390">
                  <c:v>125</c:v>
                </c:pt>
                <c:pt idx="391">
                  <c:v>127</c:v>
                </c:pt>
                <c:pt idx="392">
                  <c:v>125</c:v>
                </c:pt>
                <c:pt idx="393">
                  <c:v>126</c:v>
                </c:pt>
                <c:pt idx="394">
                  <c:v>126</c:v>
                </c:pt>
                <c:pt idx="395">
                  <c:v>127</c:v>
                </c:pt>
                <c:pt idx="396">
                  <c:v>128</c:v>
                </c:pt>
                <c:pt idx="397">
                  <c:v>129</c:v>
                </c:pt>
                <c:pt idx="398">
                  <c:v>131</c:v>
                </c:pt>
                <c:pt idx="399">
                  <c:v>133</c:v>
                </c:pt>
                <c:pt idx="400">
                  <c:v>141</c:v>
                </c:pt>
                <c:pt idx="401">
                  <c:v>140</c:v>
                </c:pt>
                <c:pt idx="402">
                  <c:v>165</c:v>
                </c:pt>
                <c:pt idx="403">
                  <c:v>165</c:v>
                </c:pt>
                <c:pt idx="404">
                  <c:v>165</c:v>
                </c:pt>
                <c:pt idx="405">
                  <c:v>166</c:v>
                </c:pt>
                <c:pt idx="406">
                  <c:v>166</c:v>
                </c:pt>
                <c:pt idx="407">
                  <c:v>185</c:v>
                </c:pt>
                <c:pt idx="408">
                  <c:v>187</c:v>
                </c:pt>
                <c:pt idx="409">
                  <c:v>187</c:v>
                </c:pt>
                <c:pt idx="410">
                  <c:v>187</c:v>
                </c:pt>
                <c:pt idx="411">
                  <c:v>186</c:v>
                </c:pt>
                <c:pt idx="412">
                  <c:v>190</c:v>
                </c:pt>
                <c:pt idx="413">
                  <c:v>191</c:v>
                </c:pt>
                <c:pt idx="414">
                  <c:v>185</c:v>
                </c:pt>
                <c:pt idx="415">
                  <c:v>185</c:v>
                </c:pt>
                <c:pt idx="416">
                  <c:v>168</c:v>
                </c:pt>
                <c:pt idx="417">
                  <c:v>167</c:v>
                </c:pt>
                <c:pt idx="418">
                  <c:v>165</c:v>
                </c:pt>
                <c:pt idx="419">
                  <c:v>178</c:v>
                </c:pt>
                <c:pt idx="420">
                  <c:v>186</c:v>
                </c:pt>
                <c:pt idx="421">
                  <c:v>194</c:v>
                </c:pt>
                <c:pt idx="422">
                  <c:v>178</c:v>
                </c:pt>
                <c:pt idx="423">
                  <c:v>196</c:v>
                </c:pt>
                <c:pt idx="424">
                  <c:v>199</c:v>
                </c:pt>
                <c:pt idx="425">
                  <c:v>208</c:v>
                </c:pt>
                <c:pt idx="426">
                  <c:v>243</c:v>
                </c:pt>
                <c:pt idx="427">
                  <c:v>254</c:v>
                </c:pt>
                <c:pt idx="428">
                  <c:v>259</c:v>
                </c:pt>
                <c:pt idx="429">
                  <c:v>306</c:v>
                </c:pt>
                <c:pt idx="430">
                  <c:v>325</c:v>
                </c:pt>
                <c:pt idx="431">
                  <c:v>319</c:v>
                </c:pt>
                <c:pt idx="432">
                  <c:v>318</c:v>
                </c:pt>
                <c:pt idx="433">
                  <c:v>342</c:v>
                </c:pt>
                <c:pt idx="434">
                  <c:v>356</c:v>
                </c:pt>
                <c:pt idx="435">
                  <c:v>362</c:v>
                </c:pt>
                <c:pt idx="436">
                  <c:v>370</c:v>
                </c:pt>
                <c:pt idx="437">
                  <c:v>382</c:v>
                </c:pt>
                <c:pt idx="438">
                  <c:v>379</c:v>
                </c:pt>
                <c:pt idx="439">
                  <c:v>384</c:v>
                </c:pt>
                <c:pt idx="440">
                  <c:v>414</c:v>
                </c:pt>
                <c:pt idx="441">
                  <c:v>416</c:v>
                </c:pt>
                <c:pt idx="442">
                  <c:v>418</c:v>
                </c:pt>
                <c:pt idx="443">
                  <c:v>449</c:v>
                </c:pt>
                <c:pt idx="444">
                  <c:v>505</c:v>
                </c:pt>
                <c:pt idx="445">
                  <c:v>508</c:v>
                </c:pt>
                <c:pt idx="446">
                  <c:v>506</c:v>
                </c:pt>
                <c:pt idx="447">
                  <c:v>546</c:v>
                </c:pt>
                <c:pt idx="448">
                  <c:v>533</c:v>
                </c:pt>
                <c:pt idx="449">
                  <c:v>542</c:v>
                </c:pt>
                <c:pt idx="450">
                  <c:v>542</c:v>
                </c:pt>
                <c:pt idx="451">
                  <c:v>574</c:v>
                </c:pt>
                <c:pt idx="452">
                  <c:v>559</c:v>
                </c:pt>
                <c:pt idx="453">
                  <c:v>560</c:v>
                </c:pt>
                <c:pt idx="454">
                  <c:v>590</c:v>
                </c:pt>
                <c:pt idx="455">
                  <c:v>569</c:v>
                </c:pt>
                <c:pt idx="456">
                  <c:v>542</c:v>
                </c:pt>
                <c:pt idx="457">
                  <c:v>543</c:v>
                </c:pt>
                <c:pt idx="458">
                  <c:v>437</c:v>
                </c:pt>
                <c:pt idx="459">
                  <c:v>458</c:v>
                </c:pt>
                <c:pt idx="460">
                  <c:v>439</c:v>
                </c:pt>
                <c:pt idx="461">
                  <c:v>457</c:v>
                </c:pt>
                <c:pt idx="462">
                  <c:v>434</c:v>
                </c:pt>
                <c:pt idx="463">
                  <c:v>424</c:v>
                </c:pt>
                <c:pt idx="464">
                  <c:v>413</c:v>
                </c:pt>
                <c:pt idx="465">
                  <c:v>370</c:v>
                </c:pt>
                <c:pt idx="466">
                  <c:v>357</c:v>
                </c:pt>
                <c:pt idx="467">
                  <c:v>354</c:v>
                </c:pt>
                <c:pt idx="468">
                  <c:v>361</c:v>
                </c:pt>
                <c:pt idx="469">
                  <c:v>349</c:v>
                </c:pt>
                <c:pt idx="470">
                  <c:v>340</c:v>
                </c:pt>
                <c:pt idx="471">
                  <c:v>317</c:v>
                </c:pt>
                <c:pt idx="472">
                  <c:v>300</c:v>
                </c:pt>
                <c:pt idx="473">
                  <c:v>253</c:v>
                </c:pt>
                <c:pt idx="474">
                  <c:v>254</c:v>
                </c:pt>
                <c:pt idx="475">
                  <c:v>264</c:v>
                </c:pt>
                <c:pt idx="476">
                  <c:v>239</c:v>
                </c:pt>
                <c:pt idx="477">
                  <c:v>220</c:v>
                </c:pt>
                <c:pt idx="478">
                  <c:v>189</c:v>
                </c:pt>
                <c:pt idx="479">
                  <c:v>166</c:v>
                </c:pt>
                <c:pt idx="480">
                  <c:v>156</c:v>
                </c:pt>
                <c:pt idx="481">
                  <c:v>151</c:v>
                </c:pt>
                <c:pt idx="482">
                  <c:v>160</c:v>
                </c:pt>
                <c:pt idx="483">
                  <c:v>134</c:v>
                </c:pt>
                <c:pt idx="484">
                  <c:v>128</c:v>
                </c:pt>
                <c:pt idx="485">
                  <c:v>113</c:v>
                </c:pt>
                <c:pt idx="486">
                  <c:v>106</c:v>
                </c:pt>
                <c:pt idx="487">
                  <c:v>97</c:v>
                </c:pt>
                <c:pt idx="488">
                  <c:v>93</c:v>
                </c:pt>
                <c:pt idx="489">
                  <c:v>95</c:v>
                </c:pt>
                <c:pt idx="490">
                  <c:v>81</c:v>
                </c:pt>
                <c:pt idx="491">
                  <c:v>79</c:v>
                </c:pt>
                <c:pt idx="492">
                  <c:v>78</c:v>
                </c:pt>
                <c:pt idx="493">
                  <c:v>77</c:v>
                </c:pt>
                <c:pt idx="494">
                  <c:v>75</c:v>
                </c:pt>
                <c:pt idx="495">
                  <c:v>75</c:v>
                </c:pt>
                <c:pt idx="496">
                  <c:v>74</c:v>
                </c:pt>
                <c:pt idx="497">
                  <c:v>67</c:v>
                </c:pt>
                <c:pt idx="498">
                  <c:v>66</c:v>
                </c:pt>
                <c:pt idx="499">
                  <c:v>65</c:v>
                </c:pt>
                <c:pt idx="500">
                  <c:v>67</c:v>
                </c:pt>
                <c:pt idx="501">
                  <c:v>63</c:v>
                </c:pt>
                <c:pt idx="502">
                  <c:v>65</c:v>
                </c:pt>
                <c:pt idx="503">
                  <c:v>78</c:v>
                </c:pt>
                <c:pt idx="504">
                  <c:v>83</c:v>
                </c:pt>
                <c:pt idx="505">
                  <c:v>79</c:v>
                </c:pt>
                <c:pt idx="506">
                  <c:v>94</c:v>
                </c:pt>
                <c:pt idx="507">
                  <c:v>100</c:v>
                </c:pt>
                <c:pt idx="508">
                  <c:v>106</c:v>
                </c:pt>
                <c:pt idx="509">
                  <c:v>111</c:v>
                </c:pt>
                <c:pt idx="510">
                  <c:v>122</c:v>
                </c:pt>
                <c:pt idx="511">
                  <c:v>160</c:v>
                </c:pt>
                <c:pt idx="512">
                  <c:v>206</c:v>
                </c:pt>
                <c:pt idx="513">
                  <c:v>221</c:v>
                </c:pt>
                <c:pt idx="514">
                  <c:v>2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16</c:f>
              <c:numCache>
                <c:formatCode>m/d/yyyy</c:formatCode>
                <c:ptCount val="5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</c:numCache>
            </c:numRef>
          </c:cat>
          <c:val>
            <c:numRef>
              <c:f>List1!$C$2:$C$516</c:f>
              <c:numCache>
                <c:formatCode>General</c:formatCode>
                <c:ptCount val="51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11</c:v>
                </c:pt>
                <c:pt idx="20">
                  <c:v>12</c:v>
                </c:pt>
                <c:pt idx="21">
                  <c:v>14</c:v>
                </c:pt>
                <c:pt idx="22">
                  <c:v>13</c:v>
                </c:pt>
                <c:pt idx="23">
                  <c:v>17</c:v>
                </c:pt>
                <c:pt idx="24">
                  <c:v>28</c:v>
                </c:pt>
                <c:pt idx="25">
                  <c:v>32</c:v>
                </c:pt>
                <c:pt idx="26">
                  <c:v>33</c:v>
                </c:pt>
                <c:pt idx="27">
                  <c:v>36</c:v>
                </c:pt>
                <c:pt idx="28">
                  <c:v>57</c:v>
                </c:pt>
                <c:pt idx="29">
                  <c:v>60</c:v>
                </c:pt>
                <c:pt idx="30">
                  <c:v>88</c:v>
                </c:pt>
                <c:pt idx="31">
                  <c:v>177</c:v>
                </c:pt>
                <c:pt idx="32">
                  <c:v>202</c:v>
                </c:pt>
                <c:pt idx="33">
                  <c:v>216</c:v>
                </c:pt>
                <c:pt idx="34">
                  <c:v>300</c:v>
                </c:pt>
                <c:pt idx="35">
                  <c:v>336</c:v>
                </c:pt>
                <c:pt idx="36">
                  <c:v>363</c:v>
                </c:pt>
                <c:pt idx="37">
                  <c:v>444</c:v>
                </c:pt>
                <c:pt idx="38">
                  <c:v>524</c:v>
                </c:pt>
                <c:pt idx="39">
                  <c:v>562</c:v>
                </c:pt>
                <c:pt idx="40">
                  <c:v>576</c:v>
                </c:pt>
                <c:pt idx="41">
                  <c:v>706</c:v>
                </c:pt>
                <c:pt idx="42">
                  <c:v>829</c:v>
                </c:pt>
                <c:pt idx="43">
                  <c:v>997</c:v>
                </c:pt>
                <c:pt idx="44">
                  <c:v>1168</c:v>
                </c:pt>
                <c:pt idx="45">
                  <c:v>1334</c:v>
                </c:pt>
                <c:pt idx="46">
                  <c:v>1403</c:v>
                </c:pt>
                <c:pt idx="47">
                  <c:v>1396</c:v>
                </c:pt>
                <c:pt idx="48">
                  <c:v>1536</c:v>
                </c:pt>
                <c:pt idx="49">
                  <c:v>1676</c:v>
                </c:pt>
                <c:pt idx="50">
                  <c:v>1900</c:v>
                </c:pt>
                <c:pt idx="51">
                  <c:v>2057</c:v>
                </c:pt>
                <c:pt idx="52">
                  <c:v>2318</c:v>
                </c:pt>
                <c:pt idx="53">
                  <c:v>2390</c:v>
                </c:pt>
                <c:pt idx="54">
                  <c:v>2355</c:v>
                </c:pt>
                <c:pt idx="55">
                  <c:v>2518</c:v>
                </c:pt>
                <c:pt idx="56">
                  <c:v>2693</c:v>
                </c:pt>
                <c:pt idx="57">
                  <c:v>2707</c:v>
                </c:pt>
                <c:pt idx="58">
                  <c:v>3103</c:v>
                </c:pt>
                <c:pt idx="59">
                  <c:v>3238</c:v>
                </c:pt>
                <c:pt idx="60">
                  <c:v>3153</c:v>
                </c:pt>
                <c:pt idx="61">
                  <c:v>2991</c:v>
                </c:pt>
                <c:pt idx="62">
                  <c:v>3009</c:v>
                </c:pt>
                <c:pt idx="63">
                  <c:v>2935</c:v>
                </c:pt>
                <c:pt idx="64">
                  <c:v>3126</c:v>
                </c:pt>
                <c:pt idx="65">
                  <c:v>3300</c:v>
                </c:pt>
                <c:pt idx="66">
                  <c:v>3118</c:v>
                </c:pt>
                <c:pt idx="67">
                  <c:v>2869</c:v>
                </c:pt>
                <c:pt idx="68">
                  <c:v>2771</c:v>
                </c:pt>
                <c:pt idx="69">
                  <c:v>2618</c:v>
                </c:pt>
                <c:pt idx="70">
                  <c:v>2474</c:v>
                </c:pt>
                <c:pt idx="71">
                  <c:v>2592</c:v>
                </c:pt>
                <c:pt idx="72">
                  <c:v>2719</c:v>
                </c:pt>
                <c:pt idx="73">
                  <c:v>2620</c:v>
                </c:pt>
                <c:pt idx="74">
                  <c:v>2419</c:v>
                </c:pt>
                <c:pt idx="75">
                  <c:v>2176</c:v>
                </c:pt>
                <c:pt idx="76">
                  <c:v>2141</c:v>
                </c:pt>
                <c:pt idx="77">
                  <c:v>1981</c:v>
                </c:pt>
                <c:pt idx="78">
                  <c:v>2080</c:v>
                </c:pt>
                <c:pt idx="79">
                  <c:v>2155</c:v>
                </c:pt>
                <c:pt idx="80">
                  <c:v>2099</c:v>
                </c:pt>
                <c:pt idx="81">
                  <c:v>1846</c:v>
                </c:pt>
                <c:pt idx="82">
                  <c:v>1660</c:v>
                </c:pt>
                <c:pt idx="83">
                  <c:v>1638</c:v>
                </c:pt>
                <c:pt idx="84">
                  <c:v>1575</c:v>
                </c:pt>
                <c:pt idx="85">
                  <c:v>1598</c:v>
                </c:pt>
                <c:pt idx="86">
                  <c:v>1621</c:v>
                </c:pt>
                <c:pt idx="87">
                  <c:v>1577</c:v>
                </c:pt>
                <c:pt idx="88">
                  <c:v>1538</c:v>
                </c:pt>
                <c:pt idx="89">
                  <c:v>1393</c:v>
                </c:pt>
                <c:pt idx="90">
                  <c:v>1366</c:v>
                </c:pt>
                <c:pt idx="91">
                  <c:v>1361</c:v>
                </c:pt>
                <c:pt idx="92">
                  <c:v>1404</c:v>
                </c:pt>
                <c:pt idx="93">
                  <c:v>1444</c:v>
                </c:pt>
                <c:pt idx="94">
                  <c:v>1380</c:v>
                </c:pt>
                <c:pt idx="95">
                  <c:v>1318</c:v>
                </c:pt>
                <c:pt idx="96">
                  <c:v>1246</c:v>
                </c:pt>
                <c:pt idx="97">
                  <c:v>1306</c:v>
                </c:pt>
                <c:pt idx="98">
                  <c:v>1294</c:v>
                </c:pt>
                <c:pt idx="99">
                  <c:v>1332</c:v>
                </c:pt>
                <c:pt idx="100">
                  <c:v>1378</c:v>
                </c:pt>
                <c:pt idx="101">
                  <c:v>1359</c:v>
                </c:pt>
                <c:pt idx="102">
                  <c:v>1288</c:v>
                </c:pt>
                <c:pt idx="103">
                  <c:v>1248</c:v>
                </c:pt>
                <c:pt idx="104">
                  <c:v>1285</c:v>
                </c:pt>
                <c:pt idx="105">
                  <c:v>1284</c:v>
                </c:pt>
                <c:pt idx="106">
                  <c:v>1352</c:v>
                </c:pt>
                <c:pt idx="107">
                  <c:v>1385</c:v>
                </c:pt>
                <c:pt idx="108">
                  <c:v>1335</c:v>
                </c:pt>
                <c:pt idx="109">
                  <c:v>1281</c:v>
                </c:pt>
                <c:pt idx="110">
                  <c:v>1232</c:v>
                </c:pt>
                <c:pt idx="111">
                  <c:v>1334</c:v>
                </c:pt>
                <c:pt idx="112">
                  <c:v>1380</c:v>
                </c:pt>
                <c:pt idx="113">
                  <c:v>1469</c:v>
                </c:pt>
                <c:pt idx="114">
                  <c:v>1484</c:v>
                </c:pt>
                <c:pt idx="115">
                  <c:v>1431</c:v>
                </c:pt>
                <c:pt idx="116">
                  <c:v>1390</c:v>
                </c:pt>
                <c:pt idx="117">
                  <c:v>1360</c:v>
                </c:pt>
                <c:pt idx="118">
                  <c:v>1476</c:v>
                </c:pt>
                <c:pt idx="119">
                  <c:v>1564</c:v>
                </c:pt>
                <c:pt idx="120">
                  <c:v>1641</c:v>
                </c:pt>
                <c:pt idx="121">
                  <c:v>1710</c:v>
                </c:pt>
                <c:pt idx="122">
                  <c:v>1612</c:v>
                </c:pt>
                <c:pt idx="123">
                  <c:v>1542</c:v>
                </c:pt>
                <c:pt idx="124">
                  <c:v>1473</c:v>
                </c:pt>
                <c:pt idx="125">
                  <c:v>1735</c:v>
                </c:pt>
                <c:pt idx="126">
                  <c:v>1859</c:v>
                </c:pt>
                <c:pt idx="127">
                  <c:v>1935</c:v>
                </c:pt>
                <c:pt idx="128">
                  <c:v>1997</c:v>
                </c:pt>
                <c:pt idx="129">
                  <c:v>1895</c:v>
                </c:pt>
                <c:pt idx="130">
                  <c:v>1782</c:v>
                </c:pt>
                <c:pt idx="131">
                  <c:v>1664</c:v>
                </c:pt>
                <c:pt idx="132">
                  <c:v>1811</c:v>
                </c:pt>
                <c:pt idx="133">
                  <c:v>1894</c:v>
                </c:pt>
                <c:pt idx="134">
                  <c:v>1966</c:v>
                </c:pt>
                <c:pt idx="135">
                  <c:v>1968</c:v>
                </c:pt>
                <c:pt idx="136">
                  <c:v>1825</c:v>
                </c:pt>
                <c:pt idx="137">
                  <c:v>1683</c:v>
                </c:pt>
                <c:pt idx="138">
                  <c:v>1573</c:v>
                </c:pt>
                <c:pt idx="139">
                  <c:v>1573</c:v>
                </c:pt>
                <c:pt idx="140">
                  <c:v>1523</c:v>
                </c:pt>
                <c:pt idx="141">
                  <c:v>1555</c:v>
                </c:pt>
                <c:pt idx="142">
                  <c:v>1584</c:v>
                </c:pt>
                <c:pt idx="143">
                  <c:v>1490</c:v>
                </c:pt>
                <c:pt idx="144">
                  <c:v>1413</c:v>
                </c:pt>
                <c:pt idx="145">
                  <c:v>1303</c:v>
                </c:pt>
                <c:pt idx="146">
                  <c:v>1315</c:v>
                </c:pt>
                <c:pt idx="147">
                  <c:v>1318</c:v>
                </c:pt>
                <c:pt idx="148">
                  <c:v>1345</c:v>
                </c:pt>
                <c:pt idx="149">
                  <c:v>1356</c:v>
                </c:pt>
                <c:pt idx="150">
                  <c:v>1273</c:v>
                </c:pt>
                <c:pt idx="151">
                  <c:v>1206</c:v>
                </c:pt>
                <c:pt idx="152">
                  <c:v>1129</c:v>
                </c:pt>
                <c:pt idx="153">
                  <c:v>1149</c:v>
                </c:pt>
                <c:pt idx="154">
                  <c:v>1141</c:v>
                </c:pt>
                <c:pt idx="155">
                  <c:v>1178</c:v>
                </c:pt>
                <c:pt idx="156">
                  <c:v>1201</c:v>
                </c:pt>
                <c:pt idx="157">
                  <c:v>1147</c:v>
                </c:pt>
                <c:pt idx="158">
                  <c:v>1077</c:v>
                </c:pt>
                <c:pt idx="159">
                  <c:v>1035</c:v>
                </c:pt>
                <c:pt idx="160">
                  <c:v>1060</c:v>
                </c:pt>
                <c:pt idx="161">
                  <c:v>1028</c:v>
                </c:pt>
                <c:pt idx="162">
                  <c:v>1045</c:v>
                </c:pt>
                <c:pt idx="163">
                  <c:v>1072</c:v>
                </c:pt>
                <c:pt idx="164">
                  <c:v>1034</c:v>
                </c:pt>
                <c:pt idx="165">
                  <c:v>974</c:v>
                </c:pt>
                <c:pt idx="166">
                  <c:v>924</c:v>
                </c:pt>
                <c:pt idx="167">
                  <c:v>942</c:v>
                </c:pt>
                <c:pt idx="168">
                  <c:v>932</c:v>
                </c:pt>
                <c:pt idx="169">
                  <c:v>951</c:v>
                </c:pt>
                <c:pt idx="170">
                  <c:v>968</c:v>
                </c:pt>
                <c:pt idx="171">
                  <c:v>941</c:v>
                </c:pt>
                <c:pt idx="172">
                  <c:v>901</c:v>
                </c:pt>
                <c:pt idx="173">
                  <c:v>874</c:v>
                </c:pt>
                <c:pt idx="174">
                  <c:v>908</c:v>
                </c:pt>
                <c:pt idx="175">
                  <c:v>922</c:v>
                </c:pt>
                <c:pt idx="176">
                  <c:v>938</c:v>
                </c:pt>
                <c:pt idx="177">
                  <c:v>964</c:v>
                </c:pt>
                <c:pt idx="178">
                  <c:v>942</c:v>
                </c:pt>
                <c:pt idx="179">
                  <c:v>894</c:v>
                </c:pt>
                <c:pt idx="180">
                  <c:v>859</c:v>
                </c:pt>
                <c:pt idx="181">
                  <c:v>884</c:v>
                </c:pt>
                <c:pt idx="182">
                  <c:v>876</c:v>
                </c:pt>
                <c:pt idx="183">
                  <c:v>918</c:v>
                </c:pt>
                <c:pt idx="184">
                  <c:v>945</c:v>
                </c:pt>
                <c:pt idx="185">
                  <c:v>896</c:v>
                </c:pt>
                <c:pt idx="186">
                  <c:v>844</c:v>
                </c:pt>
                <c:pt idx="187">
                  <c:v>812</c:v>
                </c:pt>
                <c:pt idx="188">
                  <c:v>833</c:v>
                </c:pt>
                <c:pt idx="189">
                  <c:v>818</c:v>
                </c:pt>
                <c:pt idx="190">
                  <c:v>839</c:v>
                </c:pt>
                <c:pt idx="191">
                  <c:v>854</c:v>
                </c:pt>
                <c:pt idx="192">
                  <c:v>871</c:v>
                </c:pt>
                <c:pt idx="193">
                  <c:v>882</c:v>
                </c:pt>
                <c:pt idx="194">
                  <c:v>888</c:v>
                </c:pt>
                <c:pt idx="195">
                  <c:v>927</c:v>
                </c:pt>
                <c:pt idx="196">
                  <c:v>889</c:v>
                </c:pt>
                <c:pt idx="197">
                  <c:v>866</c:v>
                </c:pt>
                <c:pt idx="198">
                  <c:v>826</c:v>
                </c:pt>
                <c:pt idx="199">
                  <c:v>807</c:v>
                </c:pt>
                <c:pt idx="200">
                  <c:v>774</c:v>
                </c:pt>
                <c:pt idx="201">
                  <c:v>768</c:v>
                </c:pt>
                <c:pt idx="202">
                  <c:v>795</c:v>
                </c:pt>
                <c:pt idx="203">
                  <c:v>750</c:v>
                </c:pt>
                <c:pt idx="204">
                  <c:v>725</c:v>
                </c:pt>
                <c:pt idx="205">
                  <c:v>697</c:v>
                </c:pt>
                <c:pt idx="206">
                  <c:v>685</c:v>
                </c:pt>
                <c:pt idx="207">
                  <c:v>662</c:v>
                </c:pt>
                <c:pt idx="208">
                  <c:v>654</c:v>
                </c:pt>
                <c:pt idx="209">
                  <c:v>660</c:v>
                </c:pt>
                <c:pt idx="210">
                  <c:v>648</c:v>
                </c:pt>
                <c:pt idx="211">
                  <c:v>620</c:v>
                </c:pt>
                <c:pt idx="212">
                  <c:v>611</c:v>
                </c:pt>
                <c:pt idx="213">
                  <c:v>586</c:v>
                </c:pt>
                <c:pt idx="214">
                  <c:v>570</c:v>
                </c:pt>
                <c:pt idx="215">
                  <c:v>569</c:v>
                </c:pt>
                <c:pt idx="216">
                  <c:v>572</c:v>
                </c:pt>
                <c:pt idx="217">
                  <c:v>557</c:v>
                </c:pt>
                <c:pt idx="218">
                  <c:v>550</c:v>
                </c:pt>
                <c:pt idx="219">
                  <c:v>548</c:v>
                </c:pt>
                <c:pt idx="220">
                  <c:v>542</c:v>
                </c:pt>
                <c:pt idx="221">
                  <c:v>528</c:v>
                </c:pt>
                <c:pt idx="222">
                  <c:v>524</c:v>
                </c:pt>
                <c:pt idx="223">
                  <c:v>529</c:v>
                </c:pt>
                <c:pt idx="224">
                  <c:v>505</c:v>
                </c:pt>
                <c:pt idx="225">
                  <c:v>499</c:v>
                </c:pt>
                <c:pt idx="226">
                  <c:v>493</c:v>
                </c:pt>
                <c:pt idx="227">
                  <c:v>489</c:v>
                </c:pt>
                <c:pt idx="228">
                  <c:v>488</c:v>
                </c:pt>
                <c:pt idx="229">
                  <c:v>485</c:v>
                </c:pt>
                <c:pt idx="230">
                  <c:v>493</c:v>
                </c:pt>
                <c:pt idx="231">
                  <c:v>488</c:v>
                </c:pt>
                <c:pt idx="232">
                  <c:v>464</c:v>
                </c:pt>
                <c:pt idx="233">
                  <c:v>446</c:v>
                </c:pt>
                <c:pt idx="234">
                  <c:v>438</c:v>
                </c:pt>
                <c:pt idx="235">
                  <c:v>431</c:v>
                </c:pt>
                <c:pt idx="236">
                  <c:v>429</c:v>
                </c:pt>
                <c:pt idx="237">
                  <c:v>434</c:v>
                </c:pt>
                <c:pt idx="238">
                  <c:v>430</c:v>
                </c:pt>
                <c:pt idx="239">
                  <c:v>424</c:v>
                </c:pt>
                <c:pt idx="240">
                  <c:v>420</c:v>
                </c:pt>
                <c:pt idx="241">
                  <c:v>417</c:v>
                </c:pt>
                <c:pt idx="242">
                  <c:v>414</c:v>
                </c:pt>
                <c:pt idx="243">
                  <c:v>413</c:v>
                </c:pt>
                <c:pt idx="244">
                  <c:v>415</c:v>
                </c:pt>
                <c:pt idx="245">
                  <c:v>404</c:v>
                </c:pt>
                <c:pt idx="246">
                  <c:v>400</c:v>
                </c:pt>
                <c:pt idx="247">
                  <c:v>401</c:v>
                </c:pt>
                <c:pt idx="248">
                  <c:v>399</c:v>
                </c:pt>
                <c:pt idx="249">
                  <c:v>394</c:v>
                </c:pt>
                <c:pt idx="250">
                  <c:v>392</c:v>
                </c:pt>
                <c:pt idx="251">
                  <c:v>394</c:v>
                </c:pt>
                <c:pt idx="252">
                  <c:v>389</c:v>
                </c:pt>
                <c:pt idx="253">
                  <c:v>385</c:v>
                </c:pt>
                <c:pt idx="254">
                  <c:v>385</c:v>
                </c:pt>
                <c:pt idx="255">
                  <c:v>384</c:v>
                </c:pt>
                <c:pt idx="256">
                  <c:v>381</c:v>
                </c:pt>
                <c:pt idx="257">
                  <c:v>381</c:v>
                </c:pt>
                <c:pt idx="258">
                  <c:v>383</c:v>
                </c:pt>
                <c:pt idx="259">
                  <c:v>385</c:v>
                </c:pt>
                <c:pt idx="260">
                  <c:v>382</c:v>
                </c:pt>
                <c:pt idx="261">
                  <c:v>383</c:v>
                </c:pt>
                <c:pt idx="262">
                  <c:v>383</c:v>
                </c:pt>
                <c:pt idx="263">
                  <c:v>380</c:v>
                </c:pt>
                <c:pt idx="264">
                  <c:v>380</c:v>
                </c:pt>
                <c:pt idx="265">
                  <c:v>382</c:v>
                </c:pt>
                <c:pt idx="266">
                  <c:v>380</c:v>
                </c:pt>
                <c:pt idx="267">
                  <c:v>377</c:v>
                </c:pt>
                <c:pt idx="268">
                  <c:v>376</c:v>
                </c:pt>
                <c:pt idx="269">
                  <c:v>374</c:v>
                </c:pt>
                <c:pt idx="270">
                  <c:v>372</c:v>
                </c:pt>
                <c:pt idx="271">
                  <c:v>372</c:v>
                </c:pt>
                <c:pt idx="272">
                  <c:v>371</c:v>
                </c:pt>
                <c:pt idx="273">
                  <c:v>368</c:v>
                </c:pt>
                <c:pt idx="274">
                  <c:v>364</c:v>
                </c:pt>
                <c:pt idx="275">
                  <c:v>363</c:v>
                </c:pt>
                <c:pt idx="276">
                  <c:v>362</c:v>
                </c:pt>
                <c:pt idx="277">
                  <c:v>362</c:v>
                </c:pt>
                <c:pt idx="278">
                  <c:v>362</c:v>
                </c:pt>
                <c:pt idx="279">
                  <c:v>361</c:v>
                </c:pt>
                <c:pt idx="280">
                  <c:v>359</c:v>
                </c:pt>
                <c:pt idx="281">
                  <c:v>357</c:v>
                </c:pt>
                <c:pt idx="282">
                  <c:v>357</c:v>
                </c:pt>
                <c:pt idx="283">
                  <c:v>357</c:v>
                </c:pt>
                <c:pt idx="284">
                  <c:v>357</c:v>
                </c:pt>
                <c:pt idx="285">
                  <c:v>357</c:v>
                </c:pt>
                <c:pt idx="286">
                  <c:v>357</c:v>
                </c:pt>
                <c:pt idx="287">
                  <c:v>357</c:v>
                </c:pt>
                <c:pt idx="288">
                  <c:v>357</c:v>
                </c:pt>
                <c:pt idx="289">
                  <c:v>356</c:v>
                </c:pt>
                <c:pt idx="290">
                  <c:v>356</c:v>
                </c:pt>
                <c:pt idx="291">
                  <c:v>356</c:v>
                </c:pt>
                <c:pt idx="292">
                  <c:v>356</c:v>
                </c:pt>
                <c:pt idx="293">
                  <c:v>356</c:v>
                </c:pt>
                <c:pt idx="294">
                  <c:v>356</c:v>
                </c:pt>
                <c:pt idx="295">
                  <c:v>356</c:v>
                </c:pt>
                <c:pt idx="296">
                  <c:v>356</c:v>
                </c:pt>
                <c:pt idx="297">
                  <c:v>355</c:v>
                </c:pt>
                <c:pt idx="298">
                  <c:v>355</c:v>
                </c:pt>
                <c:pt idx="299">
                  <c:v>355</c:v>
                </c:pt>
                <c:pt idx="300">
                  <c:v>355</c:v>
                </c:pt>
                <c:pt idx="301">
                  <c:v>355</c:v>
                </c:pt>
                <c:pt idx="302">
                  <c:v>356</c:v>
                </c:pt>
                <c:pt idx="303">
                  <c:v>356</c:v>
                </c:pt>
                <c:pt idx="304">
                  <c:v>356</c:v>
                </c:pt>
                <c:pt idx="305">
                  <c:v>356</c:v>
                </c:pt>
                <c:pt idx="306">
                  <c:v>356</c:v>
                </c:pt>
                <c:pt idx="307">
                  <c:v>356</c:v>
                </c:pt>
                <c:pt idx="308">
                  <c:v>356</c:v>
                </c:pt>
                <c:pt idx="309">
                  <c:v>356</c:v>
                </c:pt>
                <c:pt idx="310">
                  <c:v>356</c:v>
                </c:pt>
                <c:pt idx="311">
                  <c:v>356</c:v>
                </c:pt>
                <c:pt idx="312">
                  <c:v>356</c:v>
                </c:pt>
                <c:pt idx="313">
                  <c:v>357</c:v>
                </c:pt>
                <c:pt idx="314">
                  <c:v>357</c:v>
                </c:pt>
                <c:pt idx="315">
                  <c:v>357</c:v>
                </c:pt>
                <c:pt idx="316">
                  <c:v>357</c:v>
                </c:pt>
                <c:pt idx="317">
                  <c:v>357</c:v>
                </c:pt>
                <c:pt idx="318">
                  <c:v>356</c:v>
                </c:pt>
                <c:pt idx="319">
                  <c:v>356</c:v>
                </c:pt>
                <c:pt idx="320">
                  <c:v>356</c:v>
                </c:pt>
                <c:pt idx="321">
                  <c:v>356</c:v>
                </c:pt>
                <c:pt idx="322">
                  <c:v>356</c:v>
                </c:pt>
                <c:pt idx="323">
                  <c:v>357</c:v>
                </c:pt>
                <c:pt idx="324">
                  <c:v>356</c:v>
                </c:pt>
                <c:pt idx="325">
                  <c:v>356</c:v>
                </c:pt>
                <c:pt idx="326">
                  <c:v>355</c:v>
                </c:pt>
                <c:pt idx="327">
                  <c:v>355</c:v>
                </c:pt>
                <c:pt idx="328">
                  <c:v>354</c:v>
                </c:pt>
                <c:pt idx="329">
                  <c:v>355</c:v>
                </c:pt>
                <c:pt idx="330">
                  <c:v>356</c:v>
                </c:pt>
                <c:pt idx="331">
                  <c:v>356</c:v>
                </c:pt>
                <c:pt idx="332">
                  <c:v>356</c:v>
                </c:pt>
                <c:pt idx="333">
                  <c:v>356</c:v>
                </c:pt>
                <c:pt idx="334">
                  <c:v>356</c:v>
                </c:pt>
                <c:pt idx="335">
                  <c:v>356</c:v>
                </c:pt>
                <c:pt idx="336">
                  <c:v>356</c:v>
                </c:pt>
                <c:pt idx="337">
                  <c:v>356</c:v>
                </c:pt>
                <c:pt idx="338">
                  <c:v>355</c:v>
                </c:pt>
                <c:pt idx="339">
                  <c:v>355</c:v>
                </c:pt>
                <c:pt idx="340">
                  <c:v>355</c:v>
                </c:pt>
                <c:pt idx="341">
                  <c:v>356</c:v>
                </c:pt>
                <c:pt idx="342">
                  <c:v>356</c:v>
                </c:pt>
                <c:pt idx="343">
                  <c:v>355</c:v>
                </c:pt>
                <c:pt idx="344">
                  <c:v>355</c:v>
                </c:pt>
                <c:pt idx="345">
                  <c:v>355</c:v>
                </c:pt>
                <c:pt idx="346">
                  <c:v>355</c:v>
                </c:pt>
                <c:pt idx="347">
                  <c:v>355</c:v>
                </c:pt>
                <c:pt idx="348">
                  <c:v>355</c:v>
                </c:pt>
                <c:pt idx="349">
                  <c:v>355</c:v>
                </c:pt>
                <c:pt idx="350">
                  <c:v>354</c:v>
                </c:pt>
                <c:pt idx="351">
                  <c:v>354</c:v>
                </c:pt>
                <c:pt idx="352">
                  <c:v>354</c:v>
                </c:pt>
                <c:pt idx="353">
                  <c:v>354</c:v>
                </c:pt>
                <c:pt idx="354">
                  <c:v>354</c:v>
                </c:pt>
                <c:pt idx="355">
                  <c:v>354</c:v>
                </c:pt>
                <c:pt idx="356">
                  <c:v>355</c:v>
                </c:pt>
                <c:pt idx="357">
                  <c:v>355</c:v>
                </c:pt>
                <c:pt idx="358">
                  <c:v>355</c:v>
                </c:pt>
                <c:pt idx="359">
                  <c:v>355</c:v>
                </c:pt>
                <c:pt idx="360">
                  <c:v>356</c:v>
                </c:pt>
                <c:pt idx="361">
                  <c:v>356</c:v>
                </c:pt>
                <c:pt idx="362">
                  <c:v>356</c:v>
                </c:pt>
                <c:pt idx="363">
                  <c:v>356</c:v>
                </c:pt>
                <c:pt idx="364">
                  <c:v>356</c:v>
                </c:pt>
                <c:pt idx="365">
                  <c:v>360</c:v>
                </c:pt>
                <c:pt idx="366">
                  <c:v>361</c:v>
                </c:pt>
                <c:pt idx="367">
                  <c:v>362</c:v>
                </c:pt>
                <c:pt idx="368">
                  <c:v>362</c:v>
                </c:pt>
                <c:pt idx="369">
                  <c:v>362</c:v>
                </c:pt>
                <c:pt idx="370">
                  <c:v>363</c:v>
                </c:pt>
                <c:pt idx="371">
                  <c:v>364</c:v>
                </c:pt>
                <c:pt idx="372">
                  <c:v>365</c:v>
                </c:pt>
                <c:pt idx="373">
                  <c:v>366</c:v>
                </c:pt>
                <c:pt idx="374">
                  <c:v>366</c:v>
                </c:pt>
                <c:pt idx="375">
                  <c:v>365</c:v>
                </c:pt>
                <c:pt idx="376">
                  <c:v>364</c:v>
                </c:pt>
                <c:pt idx="377">
                  <c:v>364</c:v>
                </c:pt>
                <c:pt idx="378">
                  <c:v>365</c:v>
                </c:pt>
                <c:pt idx="379">
                  <c:v>364</c:v>
                </c:pt>
                <c:pt idx="380">
                  <c:v>364</c:v>
                </c:pt>
                <c:pt idx="381">
                  <c:v>363</c:v>
                </c:pt>
                <c:pt idx="382">
                  <c:v>361</c:v>
                </c:pt>
                <c:pt idx="383">
                  <c:v>361</c:v>
                </c:pt>
                <c:pt idx="384">
                  <c:v>365</c:v>
                </c:pt>
                <c:pt idx="385">
                  <c:v>368</c:v>
                </c:pt>
                <c:pt idx="386">
                  <c:v>368</c:v>
                </c:pt>
                <c:pt idx="387">
                  <c:v>368</c:v>
                </c:pt>
                <c:pt idx="388">
                  <c:v>368</c:v>
                </c:pt>
                <c:pt idx="389">
                  <c:v>369</c:v>
                </c:pt>
                <c:pt idx="390">
                  <c:v>370</c:v>
                </c:pt>
                <c:pt idx="391">
                  <c:v>374</c:v>
                </c:pt>
                <c:pt idx="392">
                  <c:v>376</c:v>
                </c:pt>
                <c:pt idx="393">
                  <c:v>381</c:v>
                </c:pt>
                <c:pt idx="394">
                  <c:v>382</c:v>
                </c:pt>
                <c:pt idx="395">
                  <c:v>383</c:v>
                </c:pt>
                <c:pt idx="396">
                  <c:v>382</c:v>
                </c:pt>
                <c:pt idx="397">
                  <c:v>381</c:v>
                </c:pt>
                <c:pt idx="398">
                  <c:v>383</c:v>
                </c:pt>
                <c:pt idx="399">
                  <c:v>385</c:v>
                </c:pt>
                <c:pt idx="400">
                  <c:v>385</c:v>
                </c:pt>
                <c:pt idx="401">
                  <c:v>386</c:v>
                </c:pt>
                <c:pt idx="402">
                  <c:v>387</c:v>
                </c:pt>
                <c:pt idx="403">
                  <c:v>388</c:v>
                </c:pt>
                <c:pt idx="404">
                  <c:v>386</c:v>
                </c:pt>
                <c:pt idx="405">
                  <c:v>388</c:v>
                </c:pt>
                <c:pt idx="406">
                  <c:v>384</c:v>
                </c:pt>
                <c:pt idx="407">
                  <c:v>384</c:v>
                </c:pt>
                <c:pt idx="408">
                  <c:v>380</c:v>
                </c:pt>
                <c:pt idx="409">
                  <c:v>385</c:v>
                </c:pt>
                <c:pt idx="410">
                  <c:v>385</c:v>
                </c:pt>
                <c:pt idx="411">
                  <c:v>386</c:v>
                </c:pt>
                <c:pt idx="412">
                  <c:v>398</c:v>
                </c:pt>
                <c:pt idx="413">
                  <c:v>402</c:v>
                </c:pt>
                <c:pt idx="414">
                  <c:v>412</c:v>
                </c:pt>
                <c:pt idx="415">
                  <c:v>414</c:v>
                </c:pt>
                <c:pt idx="416">
                  <c:v>420</c:v>
                </c:pt>
                <c:pt idx="417">
                  <c:v>416</c:v>
                </c:pt>
                <c:pt idx="418">
                  <c:v>420</c:v>
                </c:pt>
                <c:pt idx="419">
                  <c:v>438</c:v>
                </c:pt>
                <c:pt idx="420">
                  <c:v>440</c:v>
                </c:pt>
                <c:pt idx="421">
                  <c:v>454</c:v>
                </c:pt>
                <c:pt idx="422">
                  <c:v>455</c:v>
                </c:pt>
                <c:pt idx="423">
                  <c:v>460</c:v>
                </c:pt>
                <c:pt idx="424">
                  <c:v>460</c:v>
                </c:pt>
                <c:pt idx="425">
                  <c:v>461</c:v>
                </c:pt>
                <c:pt idx="426">
                  <c:v>502</c:v>
                </c:pt>
                <c:pt idx="427">
                  <c:v>512</c:v>
                </c:pt>
                <c:pt idx="428">
                  <c:v>524</c:v>
                </c:pt>
                <c:pt idx="429">
                  <c:v>537</c:v>
                </c:pt>
                <c:pt idx="430">
                  <c:v>555</c:v>
                </c:pt>
                <c:pt idx="431">
                  <c:v>561</c:v>
                </c:pt>
                <c:pt idx="432">
                  <c:v>563</c:v>
                </c:pt>
                <c:pt idx="433">
                  <c:v>611</c:v>
                </c:pt>
                <c:pt idx="434">
                  <c:v>625</c:v>
                </c:pt>
                <c:pt idx="435">
                  <c:v>635</c:v>
                </c:pt>
                <c:pt idx="436">
                  <c:v>661</c:v>
                </c:pt>
                <c:pt idx="437">
                  <c:v>690</c:v>
                </c:pt>
                <c:pt idx="438">
                  <c:v>698</c:v>
                </c:pt>
                <c:pt idx="439">
                  <c:v>704</c:v>
                </c:pt>
                <c:pt idx="440">
                  <c:v>752</c:v>
                </c:pt>
                <c:pt idx="441">
                  <c:v>748</c:v>
                </c:pt>
                <c:pt idx="442">
                  <c:v>732</c:v>
                </c:pt>
                <c:pt idx="443">
                  <c:v>749</c:v>
                </c:pt>
                <c:pt idx="444">
                  <c:v>773</c:v>
                </c:pt>
                <c:pt idx="445">
                  <c:v>759</c:v>
                </c:pt>
                <c:pt idx="446">
                  <c:v>755</c:v>
                </c:pt>
                <c:pt idx="447">
                  <c:v>816</c:v>
                </c:pt>
                <c:pt idx="448">
                  <c:v>818</c:v>
                </c:pt>
                <c:pt idx="449">
                  <c:v>826</c:v>
                </c:pt>
                <c:pt idx="450">
                  <c:v>829</c:v>
                </c:pt>
                <c:pt idx="451">
                  <c:v>836</c:v>
                </c:pt>
                <c:pt idx="452">
                  <c:v>824</c:v>
                </c:pt>
                <c:pt idx="453">
                  <c:v>813</c:v>
                </c:pt>
                <c:pt idx="454">
                  <c:v>846</c:v>
                </c:pt>
                <c:pt idx="455">
                  <c:v>827</c:v>
                </c:pt>
                <c:pt idx="456">
                  <c:v>818</c:v>
                </c:pt>
                <c:pt idx="457">
                  <c:v>833</c:v>
                </c:pt>
                <c:pt idx="458">
                  <c:v>795</c:v>
                </c:pt>
                <c:pt idx="459">
                  <c:v>759</c:v>
                </c:pt>
                <c:pt idx="460">
                  <c:v>749</c:v>
                </c:pt>
                <c:pt idx="461">
                  <c:v>783</c:v>
                </c:pt>
                <c:pt idx="462">
                  <c:v>744</c:v>
                </c:pt>
                <c:pt idx="463">
                  <c:v>723</c:v>
                </c:pt>
                <c:pt idx="464">
                  <c:v>685</c:v>
                </c:pt>
                <c:pt idx="465">
                  <c:v>666</c:v>
                </c:pt>
                <c:pt idx="466">
                  <c:v>631</c:v>
                </c:pt>
                <c:pt idx="467">
                  <c:v>625</c:v>
                </c:pt>
                <c:pt idx="468">
                  <c:v>644</c:v>
                </c:pt>
                <c:pt idx="469">
                  <c:v>613</c:v>
                </c:pt>
                <c:pt idx="470">
                  <c:v>582</c:v>
                </c:pt>
                <c:pt idx="471">
                  <c:v>558</c:v>
                </c:pt>
                <c:pt idx="472">
                  <c:v>534</c:v>
                </c:pt>
                <c:pt idx="473">
                  <c:v>488</c:v>
                </c:pt>
                <c:pt idx="474">
                  <c:v>481</c:v>
                </c:pt>
                <c:pt idx="475">
                  <c:v>493</c:v>
                </c:pt>
                <c:pt idx="476">
                  <c:v>447</c:v>
                </c:pt>
                <c:pt idx="477">
                  <c:v>414</c:v>
                </c:pt>
                <c:pt idx="478">
                  <c:v>381</c:v>
                </c:pt>
                <c:pt idx="479">
                  <c:v>367</c:v>
                </c:pt>
                <c:pt idx="480">
                  <c:v>343</c:v>
                </c:pt>
                <c:pt idx="481">
                  <c:v>334</c:v>
                </c:pt>
                <c:pt idx="482">
                  <c:v>333</c:v>
                </c:pt>
                <c:pt idx="483">
                  <c:v>316</c:v>
                </c:pt>
                <c:pt idx="484">
                  <c:v>283</c:v>
                </c:pt>
                <c:pt idx="485">
                  <c:v>270</c:v>
                </c:pt>
                <c:pt idx="486">
                  <c:v>258</c:v>
                </c:pt>
                <c:pt idx="487">
                  <c:v>238</c:v>
                </c:pt>
                <c:pt idx="488">
                  <c:v>230</c:v>
                </c:pt>
                <c:pt idx="489">
                  <c:v>238</c:v>
                </c:pt>
                <c:pt idx="490">
                  <c:v>224</c:v>
                </c:pt>
                <c:pt idx="491">
                  <c:v>216</c:v>
                </c:pt>
                <c:pt idx="492">
                  <c:v>217</c:v>
                </c:pt>
                <c:pt idx="493">
                  <c:v>220</c:v>
                </c:pt>
                <c:pt idx="494">
                  <c:v>217</c:v>
                </c:pt>
                <c:pt idx="495">
                  <c:v>215</c:v>
                </c:pt>
                <c:pt idx="496">
                  <c:v>231</c:v>
                </c:pt>
                <c:pt idx="497">
                  <c:v>220</c:v>
                </c:pt>
                <c:pt idx="498">
                  <c:v>211</c:v>
                </c:pt>
                <c:pt idx="499">
                  <c:v>206</c:v>
                </c:pt>
                <c:pt idx="500">
                  <c:v>204</c:v>
                </c:pt>
                <c:pt idx="501">
                  <c:v>207</c:v>
                </c:pt>
                <c:pt idx="502">
                  <c:v>216</c:v>
                </c:pt>
                <c:pt idx="503">
                  <c:v>255</c:v>
                </c:pt>
                <c:pt idx="504">
                  <c:v>260</c:v>
                </c:pt>
                <c:pt idx="505">
                  <c:v>284</c:v>
                </c:pt>
                <c:pt idx="506">
                  <c:v>334</c:v>
                </c:pt>
                <c:pt idx="507">
                  <c:v>377</c:v>
                </c:pt>
                <c:pt idx="508">
                  <c:v>374</c:v>
                </c:pt>
                <c:pt idx="509">
                  <c:v>380</c:v>
                </c:pt>
                <c:pt idx="510">
                  <c:v>412</c:v>
                </c:pt>
                <c:pt idx="511">
                  <c:v>470</c:v>
                </c:pt>
                <c:pt idx="512">
                  <c:v>545</c:v>
                </c:pt>
                <c:pt idx="513">
                  <c:v>607</c:v>
                </c:pt>
                <c:pt idx="514">
                  <c:v>5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16</c:f>
              <c:numCache>
                <c:formatCode>m/d/yyyy</c:formatCode>
                <c:ptCount val="5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</c:numCache>
            </c:numRef>
          </c:cat>
          <c:val>
            <c:numRef>
              <c:f>List1!$D$2:$D$516</c:f>
              <c:numCache>
                <c:formatCode>General</c:formatCode>
                <c:ptCount val="515"/>
                <c:pt idx="0">
                  <c:v>7</c:v>
                </c:pt>
                <c:pt idx="1">
                  <c:v>6</c:v>
                </c:pt>
                <c:pt idx="2">
                  <c:v>6</c:v>
                </c:pt>
                <c:pt idx="3">
                  <c:v>9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8</c:v>
                </c:pt>
                <c:pt idx="8">
                  <c:v>10</c:v>
                </c:pt>
                <c:pt idx="9">
                  <c:v>9</c:v>
                </c:pt>
                <c:pt idx="10">
                  <c:v>9</c:v>
                </c:pt>
                <c:pt idx="11">
                  <c:v>13</c:v>
                </c:pt>
                <c:pt idx="12">
                  <c:v>3</c:v>
                </c:pt>
                <c:pt idx="13">
                  <c:v>6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10</c:v>
                </c:pt>
                <c:pt idx="18">
                  <c:v>9</c:v>
                </c:pt>
                <c:pt idx="19">
                  <c:v>14</c:v>
                </c:pt>
                <c:pt idx="20">
                  <c:v>13</c:v>
                </c:pt>
                <c:pt idx="21">
                  <c:v>14</c:v>
                </c:pt>
                <c:pt idx="22">
                  <c:v>14</c:v>
                </c:pt>
                <c:pt idx="23">
                  <c:v>21</c:v>
                </c:pt>
                <c:pt idx="24">
                  <c:v>30</c:v>
                </c:pt>
                <c:pt idx="25">
                  <c:v>39</c:v>
                </c:pt>
                <c:pt idx="26">
                  <c:v>40</c:v>
                </c:pt>
                <c:pt idx="27">
                  <c:v>43</c:v>
                </c:pt>
                <c:pt idx="28">
                  <c:v>68</c:v>
                </c:pt>
                <c:pt idx="29">
                  <c:v>98</c:v>
                </c:pt>
                <c:pt idx="30">
                  <c:v>155</c:v>
                </c:pt>
                <c:pt idx="31">
                  <c:v>299</c:v>
                </c:pt>
                <c:pt idx="32">
                  <c:v>359</c:v>
                </c:pt>
                <c:pt idx="33">
                  <c:v>425</c:v>
                </c:pt>
                <c:pt idx="34">
                  <c:v>666</c:v>
                </c:pt>
                <c:pt idx="35">
                  <c:v>773</c:v>
                </c:pt>
                <c:pt idx="36">
                  <c:v>838</c:v>
                </c:pt>
                <c:pt idx="37">
                  <c:v>987</c:v>
                </c:pt>
                <c:pt idx="38">
                  <c:v>1199</c:v>
                </c:pt>
                <c:pt idx="39">
                  <c:v>1257</c:v>
                </c:pt>
                <c:pt idx="40">
                  <c:v>1240</c:v>
                </c:pt>
                <c:pt idx="41">
                  <c:v>1481</c:v>
                </c:pt>
                <c:pt idx="42">
                  <c:v>1776</c:v>
                </c:pt>
                <c:pt idx="43">
                  <c:v>2074</c:v>
                </c:pt>
                <c:pt idx="44">
                  <c:v>2415</c:v>
                </c:pt>
                <c:pt idx="45">
                  <c:v>2709</c:v>
                </c:pt>
                <c:pt idx="46">
                  <c:v>2854</c:v>
                </c:pt>
                <c:pt idx="47">
                  <c:v>2801</c:v>
                </c:pt>
                <c:pt idx="48">
                  <c:v>3111</c:v>
                </c:pt>
                <c:pt idx="49">
                  <c:v>3363</c:v>
                </c:pt>
                <c:pt idx="50">
                  <c:v>3865</c:v>
                </c:pt>
                <c:pt idx="51">
                  <c:v>4179</c:v>
                </c:pt>
                <c:pt idx="52">
                  <c:v>4728</c:v>
                </c:pt>
                <c:pt idx="53">
                  <c:v>4881</c:v>
                </c:pt>
                <c:pt idx="54">
                  <c:v>4889</c:v>
                </c:pt>
                <c:pt idx="55">
                  <c:v>5233</c:v>
                </c:pt>
                <c:pt idx="56">
                  <c:v>5739</c:v>
                </c:pt>
                <c:pt idx="57">
                  <c:v>5779</c:v>
                </c:pt>
                <c:pt idx="58">
                  <c:v>6616</c:v>
                </c:pt>
                <c:pt idx="59">
                  <c:v>7048</c:v>
                </c:pt>
                <c:pt idx="60">
                  <c:v>7050</c:v>
                </c:pt>
                <c:pt idx="61">
                  <c:v>6783</c:v>
                </c:pt>
                <c:pt idx="62">
                  <c:v>6863</c:v>
                </c:pt>
                <c:pt idx="63">
                  <c:v>6716</c:v>
                </c:pt>
                <c:pt idx="64">
                  <c:v>7118</c:v>
                </c:pt>
                <c:pt idx="65">
                  <c:v>7622</c:v>
                </c:pt>
                <c:pt idx="66">
                  <c:v>7300</c:v>
                </c:pt>
                <c:pt idx="67">
                  <c:v>6702</c:v>
                </c:pt>
                <c:pt idx="68">
                  <c:v>6522</c:v>
                </c:pt>
                <c:pt idx="69">
                  <c:v>6125</c:v>
                </c:pt>
                <c:pt idx="70">
                  <c:v>5861</c:v>
                </c:pt>
                <c:pt idx="71">
                  <c:v>6398</c:v>
                </c:pt>
                <c:pt idx="72">
                  <c:v>6905</c:v>
                </c:pt>
                <c:pt idx="73">
                  <c:v>6855</c:v>
                </c:pt>
                <c:pt idx="74">
                  <c:v>6311</c:v>
                </c:pt>
                <c:pt idx="75">
                  <c:v>5956</c:v>
                </c:pt>
                <c:pt idx="76">
                  <c:v>5935</c:v>
                </c:pt>
                <c:pt idx="77">
                  <c:v>5560</c:v>
                </c:pt>
                <c:pt idx="78">
                  <c:v>5847</c:v>
                </c:pt>
                <c:pt idx="79">
                  <c:v>6070</c:v>
                </c:pt>
                <c:pt idx="80">
                  <c:v>6072</c:v>
                </c:pt>
                <c:pt idx="81">
                  <c:v>5439</c:v>
                </c:pt>
                <c:pt idx="82">
                  <c:v>4978</c:v>
                </c:pt>
                <c:pt idx="83">
                  <c:v>5082</c:v>
                </c:pt>
                <c:pt idx="84">
                  <c:v>4733</c:v>
                </c:pt>
                <c:pt idx="85">
                  <c:v>4750</c:v>
                </c:pt>
                <c:pt idx="86">
                  <c:v>4866</c:v>
                </c:pt>
                <c:pt idx="87">
                  <c:v>4587</c:v>
                </c:pt>
                <c:pt idx="88">
                  <c:v>4516</c:v>
                </c:pt>
                <c:pt idx="89">
                  <c:v>4113</c:v>
                </c:pt>
                <c:pt idx="90">
                  <c:v>3989</c:v>
                </c:pt>
                <c:pt idx="91">
                  <c:v>3799</c:v>
                </c:pt>
                <c:pt idx="92">
                  <c:v>3875</c:v>
                </c:pt>
                <c:pt idx="93">
                  <c:v>3973</c:v>
                </c:pt>
                <c:pt idx="94">
                  <c:v>3799</c:v>
                </c:pt>
                <c:pt idx="95">
                  <c:v>3569</c:v>
                </c:pt>
                <c:pt idx="96">
                  <c:v>3343</c:v>
                </c:pt>
                <c:pt idx="97">
                  <c:v>3355</c:v>
                </c:pt>
                <c:pt idx="98">
                  <c:v>3198</c:v>
                </c:pt>
                <c:pt idx="99">
                  <c:v>3291</c:v>
                </c:pt>
                <c:pt idx="100">
                  <c:v>3387</c:v>
                </c:pt>
                <c:pt idx="101">
                  <c:v>3356</c:v>
                </c:pt>
                <c:pt idx="102">
                  <c:v>3192</c:v>
                </c:pt>
                <c:pt idx="103">
                  <c:v>3106</c:v>
                </c:pt>
                <c:pt idx="104">
                  <c:v>3151</c:v>
                </c:pt>
                <c:pt idx="105">
                  <c:v>3131</c:v>
                </c:pt>
                <c:pt idx="106">
                  <c:v>3200</c:v>
                </c:pt>
                <c:pt idx="107">
                  <c:v>3237</c:v>
                </c:pt>
                <c:pt idx="108">
                  <c:v>3238</c:v>
                </c:pt>
                <c:pt idx="109">
                  <c:v>3054</c:v>
                </c:pt>
                <c:pt idx="110">
                  <c:v>2938</c:v>
                </c:pt>
                <c:pt idx="111">
                  <c:v>3090</c:v>
                </c:pt>
                <c:pt idx="112">
                  <c:v>3148</c:v>
                </c:pt>
                <c:pt idx="113">
                  <c:v>3260</c:v>
                </c:pt>
                <c:pt idx="114">
                  <c:v>3241</c:v>
                </c:pt>
                <c:pt idx="115">
                  <c:v>3086</c:v>
                </c:pt>
                <c:pt idx="116">
                  <c:v>3020</c:v>
                </c:pt>
                <c:pt idx="117">
                  <c:v>2990</c:v>
                </c:pt>
                <c:pt idx="118">
                  <c:v>3151</c:v>
                </c:pt>
                <c:pt idx="119">
                  <c:v>3286</c:v>
                </c:pt>
                <c:pt idx="120">
                  <c:v>3461</c:v>
                </c:pt>
                <c:pt idx="121">
                  <c:v>3612</c:v>
                </c:pt>
                <c:pt idx="122">
                  <c:v>3380</c:v>
                </c:pt>
                <c:pt idx="123">
                  <c:v>3277</c:v>
                </c:pt>
                <c:pt idx="124">
                  <c:v>3043</c:v>
                </c:pt>
                <c:pt idx="125">
                  <c:v>3536</c:v>
                </c:pt>
                <c:pt idx="126">
                  <c:v>3750</c:v>
                </c:pt>
                <c:pt idx="127">
                  <c:v>3913</c:v>
                </c:pt>
                <c:pt idx="128">
                  <c:v>4117</c:v>
                </c:pt>
                <c:pt idx="129">
                  <c:v>4019</c:v>
                </c:pt>
                <c:pt idx="130">
                  <c:v>3771</c:v>
                </c:pt>
                <c:pt idx="131">
                  <c:v>3507</c:v>
                </c:pt>
                <c:pt idx="132">
                  <c:v>3796</c:v>
                </c:pt>
                <c:pt idx="133">
                  <c:v>3942</c:v>
                </c:pt>
                <c:pt idx="134">
                  <c:v>4117</c:v>
                </c:pt>
                <c:pt idx="135">
                  <c:v>4166</c:v>
                </c:pt>
                <c:pt idx="136">
                  <c:v>3939</c:v>
                </c:pt>
                <c:pt idx="137">
                  <c:v>3602</c:v>
                </c:pt>
                <c:pt idx="138">
                  <c:v>3336</c:v>
                </c:pt>
                <c:pt idx="139">
                  <c:v>3277</c:v>
                </c:pt>
                <c:pt idx="140">
                  <c:v>3113</c:v>
                </c:pt>
                <c:pt idx="141">
                  <c:v>3231</c:v>
                </c:pt>
                <c:pt idx="142">
                  <c:v>3330</c:v>
                </c:pt>
                <c:pt idx="143">
                  <c:v>3108</c:v>
                </c:pt>
                <c:pt idx="144">
                  <c:v>2963</c:v>
                </c:pt>
                <c:pt idx="145">
                  <c:v>2753</c:v>
                </c:pt>
                <c:pt idx="146">
                  <c:v>2725</c:v>
                </c:pt>
                <c:pt idx="147">
                  <c:v>2674</c:v>
                </c:pt>
                <c:pt idx="148">
                  <c:v>2753</c:v>
                </c:pt>
                <c:pt idx="149">
                  <c:v>2801</c:v>
                </c:pt>
                <c:pt idx="150">
                  <c:v>2576</c:v>
                </c:pt>
                <c:pt idx="151">
                  <c:v>2467</c:v>
                </c:pt>
                <c:pt idx="152">
                  <c:v>2254</c:v>
                </c:pt>
                <c:pt idx="153">
                  <c:v>2301</c:v>
                </c:pt>
                <c:pt idx="154">
                  <c:v>2315</c:v>
                </c:pt>
                <c:pt idx="155">
                  <c:v>2407</c:v>
                </c:pt>
                <c:pt idx="156">
                  <c:v>2459</c:v>
                </c:pt>
                <c:pt idx="157">
                  <c:v>2376</c:v>
                </c:pt>
                <c:pt idx="158">
                  <c:v>2246</c:v>
                </c:pt>
                <c:pt idx="159">
                  <c:v>2148</c:v>
                </c:pt>
                <c:pt idx="160">
                  <c:v>2188</c:v>
                </c:pt>
                <c:pt idx="161">
                  <c:v>2150</c:v>
                </c:pt>
                <c:pt idx="162">
                  <c:v>2206</c:v>
                </c:pt>
                <c:pt idx="163">
                  <c:v>2279</c:v>
                </c:pt>
                <c:pt idx="164">
                  <c:v>2207</c:v>
                </c:pt>
                <c:pt idx="165">
                  <c:v>2025</c:v>
                </c:pt>
                <c:pt idx="166">
                  <c:v>1883</c:v>
                </c:pt>
                <c:pt idx="167">
                  <c:v>1880</c:v>
                </c:pt>
                <c:pt idx="168">
                  <c:v>1785</c:v>
                </c:pt>
                <c:pt idx="169">
                  <c:v>1783</c:v>
                </c:pt>
                <c:pt idx="170">
                  <c:v>1815</c:v>
                </c:pt>
                <c:pt idx="171">
                  <c:v>1729</c:v>
                </c:pt>
                <c:pt idx="172">
                  <c:v>1627</c:v>
                </c:pt>
                <c:pt idx="173">
                  <c:v>1528</c:v>
                </c:pt>
                <c:pt idx="174">
                  <c:v>1605</c:v>
                </c:pt>
                <c:pt idx="175">
                  <c:v>1594</c:v>
                </c:pt>
                <c:pt idx="176">
                  <c:v>1620</c:v>
                </c:pt>
                <c:pt idx="177">
                  <c:v>1676</c:v>
                </c:pt>
                <c:pt idx="178">
                  <c:v>1642</c:v>
                </c:pt>
                <c:pt idx="179">
                  <c:v>1563</c:v>
                </c:pt>
                <c:pt idx="180">
                  <c:v>1508</c:v>
                </c:pt>
                <c:pt idx="181">
                  <c:v>1581</c:v>
                </c:pt>
                <c:pt idx="182">
                  <c:v>1539</c:v>
                </c:pt>
                <c:pt idx="183">
                  <c:v>1589</c:v>
                </c:pt>
                <c:pt idx="184">
                  <c:v>1609</c:v>
                </c:pt>
                <c:pt idx="185">
                  <c:v>1493</c:v>
                </c:pt>
                <c:pt idx="186">
                  <c:v>1412</c:v>
                </c:pt>
                <c:pt idx="187">
                  <c:v>1336</c:v>
                </c:pt>
                <c:pt idx="188">
                  <c:v>1352</c:v>
                </c:pt>
                <c:pt idx="189">
                  <c:v>1361</c:v>
                </c:pt>
                <c:pt idx="190">
                  <c:v>1423</c:v>
                </c:pt>
                <c:pt idx="191">
                  <c:v>1437</c:v>
                </c:pt>
                <c:pt idx="192">
                  <c:v>1475</c:v>
                </c:pt>
                <c:pt idx="193">
                  <c:v>1483</c:v>
                </c:pt>
                <c:pt idx="194">
                  <c:v>1489</c:v>
                </c:pt>
                <c:pt idx="195">
                  <c:v>1552</c:v>
                </c:pt>
                <c:pt idx="196">
                  <c:v>1450</c:v>
                </c:pt>
                <c:pt idx="197">
                  <c:v>1406</c:v>
                </c:pt>
                <c:pt idx="198">
                  <c:v>1353</c:v>
                </c:pt>
                <c:pt idx="199">
                  <c:v>1334</c:v>
                </c:pt>
                <c:pt idx="200">
                  <c:v>1281</c:v>
                </c:pt>
                <c:pt idx="201">
                  <c:v>1274</c:v>
                </c:pt>
                <c:pt idx="202">
                  <c:v>1306</c:v>
                </c:pt>
                <c:pt idx="203">
                  <c:v>1263</c:v>
                </c:pt>
                <c:pt idx="204">
                  <c:v>1203</c:v>
                </c:pt>
                <c:pt idx="205">
                  <c:v>1171</c:v>
                </c:pt>
                <c:pt idx="206">
                  <c:v>1141</c:v>
                </c:pt>
                <c:pt idx="207">
                  <c:v>1084</c:v>
                </c:pt>
                <c:pt idx="208">
                  <c:v>1075</c:v>
                </c:pt>
                <c:pt idx="209">
                  <c:v>1093</c:v>
                </c:pt>
                <c:pt idx="210">
                  <c:v>1050</c:v>
                </c:pt>
                <c:pt idx="211">
                  <c:v>1015</c:v>
                </c:pt>
                <c:pt idx="212">
                  <c:v>989</c:v>
                </c:pt>
                <c:pt idx="213">
                  <c:v>936</c:v>
                </c:pt>
                <c:pt idx="214">
                  <c:v>910</c:v>
                </c:pt>
                <c:pt idx="215">
                  <c:v>907</c:v>
                </c:pt>
                <c:pt idx="216">
                  <c:v>908</c:v>
                </c:pt>
                <c:pt idx="217">
                  <c:v>863</c:v>
                </c:pt>
                <c:pt idx="218">
                  <c:v>853</c:v>
                </c:pt>
                <c:pt idx="219">
                  <c:v>836</c:v>
                </c:pt>
                <c:pt idx="220">
                  <c:v>801</c:v>
                </c:pt>
                <c:pt idx="221">
                  <c:v>782</c:v>
                </c:pt>
                <c:pt idx="222">
                  <c:v>777</c:v>
                </c:pt>
                <c:pt idx="223">
                  <c:v>782</c:v>
                </c:pt>
                <c:pt idx="224">
                  <c:v>747</c:v>
                </c:pt>
                <c:pt idx="225">
                  <c:v>719</c:v>
                </c:pt>
                <c:pt idx="226">
                  <c:v>704</c:v>
                </c:pt>
                <c:pt idx="227">
                  <c:v>684</c:v>
                </c:pt>
                <c:pt idx="228">
                  <c:v>681</c:v>
                </c:pt>
                <c:pt idx="229">
                  <c:v>679</c:v>
                </c:pt>
                <c:pt idx="230">
                  <c:v>691</c:v>
                </c:pt>
                <c:pt idx="231">
                  <c:v>680</c:v>
                </c:pt>
                <c:pt idx="232">
                  <c:v>649</c:v>
                </c:pt>
                <c:pt idx="233">
                  <c:v>630</c:v>
                </c:pt>
                <c:pt idx="234">
                  <c:v>625</c:v>
                </c:pt>
                <c:pt idx="235">
                  <c:v>611</c:v>
                </c:pt>
                <c:pt idx="236">
                  <c:v>608</c:v>
                </c:pt>
                <c:pt idx="237">
                  <c:v>613</c:v>
                </c:pt>
                <c:pt idx="238">
                  <c:v>608</c:v>
                </c:pt>
                <c:pt idx="239">
                  <c:v>601</c:v>
                </c:pt>
                <c:pt idx="240">
                  <c:v>596</c:v>
                </c:pt>
                <c:pt idx="241">
                  <c:v>593</c:v>
                </c:pt>
                <c:pt idx="242">
                  <c:v>584</c:v>
                </c:pt>
                <c:pt idx="243">
                  <c:v>583</c:v>
                </c:pt>
                <c:pt idx="244">
                  <c:v>586</c:v>
                </c:pt>
                <c:pt idx="245">
                  <c:v>571</c:v>
                </c:pt>
                <c:pt idx="246">
                  <c:v>563</c:v>
                </c:pt>
                <c:pt idx="247">
                  <c:v>558</c:v>
                </c:pt>
                <c:pt idx="248">
                  <c:v>555</c:v>
                </c:pt>
                <c:pt idx="249">
                  <c:v>544</c:v>
                </c:pt>
                <c:pt idx="250">
                  <c:v>545</c:v>
                </c:pt>
                <c:pt idx="251">
                  <c:v>551</c:v>
                </c:pt>
                <c:pt idx="252">
                  <c:v>546</c:v>
                </c:pt>
                <c:pt idx="253">
                  <c:v>539</c:v>
                </c:pt>
                <c:pt idx="254">
                  <c:v>538</c:v>
                </c:pt>
                <c:pt idx="255">
                  <c:v>536</c:v>
                </c:pt>
                <c:pt idx="256">
                  <c:v>531</c:v>
                </c:pt>
                <c:pt idx="257">
                  <c:v>530</c:v>
                </c:pt>
                <c:pt idx="258">
                  <c:v>534</c:v>
                </c:pt>
                <c:pt idx="259">
                  <c:v>532</c:v>
                </c:pt>
                <c:pt idx="260">
                  <c:v>531</c:v>
                </c:pt>
                <c:pt idx="261">
                  <c:v>529</c:v>
                </c:pt>
                <c:pt idx="262">
                  <c:v>529</c:v>
                </c:pt>
                <c:pt idx="263">
                  <c:v>525</c:v>
                </c:pt>
                <c:pt idx="264">
                  <c:v>524</c:v>
                </c:pt>
                <c:pt idx="265">
                  <c:v>527</c:v>
                </c:pt>
                <c:pt idx="266">
                  <c:v>524</c:v>
                </c:pt>
                <c:pt idx="267">
                  <c:v>520</c:v>
                </c:pt>
                <c:pt idx="268">
                  <c:v>517</c:v>
                </c:pt>
                <c:pt idx="269">
                  <c:v>514</c:v>
                </c:pt>
                <c:pt idx="270">
                  <c:v>512</c:v>
                </c:pt>
                <c:pt idx="271">
                  <c:v>509</c:v>
                </c:pt>
                <c:pt idx="272">
                  <c:v>507</c:v>
                </c:pt>
                <c:pt idx="273">
                  <c:v>503</c:v>
                </c:pt>
                <c:pt idx="274">
                  <c:v>502</c:v>
                </c:pt>
                <c:pt idx="275">
                  <c:v>497</c:v>
                </c:pt>
                <c:pt idx="276">
                  <c:v>492</c:v>
                </c:pt>
                <c:pt idx="277">
                  <c:v>491</c:v>
                </c:pt>
                <c:pt idx="278">
                  <c:v>491</c:v>
                </c:pt>
                <c:pt idx="279">
                  <c:v>490</c:v>
                </c:pt>
                <c:pt idx="280">
                  <c:v>488</c:v>
                </c:pt>
                <c:pt idx="281">
                  <c:v>485</c:v>
                </c:pt>
                <c:pt idx="282">
                  <c:v>484</c:v>
                </c:pt>
                <c:pt idx="283">
                  <c:v>485</c:v>
                </c:pt>
                <c:pt idx="284">
                  <c:v>482</c:v>
                </c:pt>
                <c:pt idx="285">
                  <c:v>482</c:v>
                </c:pt>
                <c:pt idx="286">
                  <c:v>482</c:v>
                </c:pt>
                <c:pt idx="287">
                  <c:v>482</c:v>
                </c:pt>
                <c:pt idx="288">
                  <c:v>482</c:v>
                </c:pt>
                <c:pt idx="289">
                  <c:v>481</c:v>
                </c:pt>
                <c:pt idx="290">
                  <c:v>481</c:v>
                </c:pt>
                <c:pt idx="291">
                  <c:v>481</c:v>
                </c:pt>
                <c:pt idx="292">
                  <c:v>481</c:v>
                </c:pt>
                <c:pt idx="293">
                  <c:v>481</c:v>
                </c:pt>
                <c:pt idx="294">
                  <c:v>481</c:v>
                </c:pt>
                <c:pt idx="295">
                  <c:v>482</c:v>
                </c:pt>
                <c:pt idx="296">
                  <c:v>482</c:v>
                </c:pt>
                <c:pt idx="297">
                  <c:v>480</c:v>
                </c:pt>
                <c:pt idx="298">
                  <c:v>480</c:v>
                </c:pt>
                <c:pt idx="299">
                  <c:v>480</c:v>
                </c:pt>
                <c:pt idx="300">
                  <c:v>480</c:v>
                </c:pt>
                <c:pt idx="301">
                  <c:v>480</c:v>
                </c:pt>
                <c:pt idx="302">
                  <c:v>480</c:v>
                </c:pt>
                <c:pt idx="303">
                  <c:v>481</c:v>
                </c:pt>
                <c:pt idx="304">
                  <c:v>479</c:v>
                </c:pt>
                <c:pt idx="305">
                  <c:v>479</c:v>
                </c:pt>
                <c:pt idx="306">
                  <c:v>480</c:v>
                </c:pt>
                <c:pt idx="307">
                  <c:v>480</c:v>
                </c:pt>
                <c:pt idx="308">
                  <c:v>480</c:v>
                </c:pt>
                <c:pt idx="309">
                  <c:v>480</c:v>
                </c:pt>
                <c:pt idx="310">
                  <c:v>479</c:v>
                </c:pt>
                <c:pt idx="311">
                  <c:v>479</c:v>
                </c:pt>
                <c:pt idx="312">
                  <c:v>479</c:v>
                </c:pt>
                <c:pt idx="313">
                  <c:v>480</c:v>
                </c:pt>
                <c:pt idx="314">
                  <c:v>480</c:v>
                </c:pt>
                <c:pt idx="315">
                  <c:v>480</c:v>
                </c:pt>
                <c:pt idx="316">
                  <c:v>480</c:v>
                </c:pt>
                <c:pt idx="317">
                  <c:v>480</c:v>
                </c:pt>
                <c:pt idx="318">
                  <c:v>479</c:v>
                </c:pt>
                <c:pt idx="319">
                  <c:v>479</c:v>
                </c:pt>
                <c:pt idx="320">
                  <c:v>479</c:v>
                </c:pt>
                <c:pt idx="321">
                  <c:v>479</c:v>
                </c:pt>
                <c:pt idx="322">
                  <c:v>478</c:v>
                </c:pt>
                <c:pt idx="323">
                  <c:v>479</c:v>
                </c:pt>
                <c:pt idx="324">
                  <c:v>478</c:v>
                </c:pt>
                <c:pt idx="325">
                  <c:v>478</c:v>
                </c:pt>
                <c:pt idx="326">
                  <c:v>478</c:v>
                </c:pt>
                <c:pt idx="327">
                  <c:v>477</c:v>
                </c:pt>
                <c:pt idx="328">
                  <c:v>476</c:v>
                </c:pt>
                <c:pt idx="329">
                  <c:v>477</c:v>
                </c:pt>
                <c:pt idx="330">
                  <c:v>478</c:v>
                </c:pt>
                <c:pt idx="331">
                  <c:v>478</c:v>
                </c:pt>
                <c:pt idx="332">
                  <c:v>477</c:v>
                </c:pt>
                <c:pt idx="333">
                  <c:v>477</c:v>
                </c:pt>
                <c:pt idx="334">
                  <c:v>477</c:v>
                </c:pt>
                <c:pt idx="335">
                  <c:v>477</c:v>
                </c:pt>
                <c:pt idx="336">
                  <c:v>476</c:v>
                </c:pt>
                <c:pt idx="337">
                  <c:v>476</c:v>
                </c:pt>
                <c:pt idx="338">
                  <c:v>475</c:v>
                </c:pt>
                <c:pt idx="339">
                  <c:v>475</c:v>
                </c:pt>
                <c:pt idx="340">
                  <c:v>475</c:v>
                </c:pt>
                <c:pt idx="341">
                  <c:v>476</c:v>
                </c:pt>
                <c:pt idx="342">
                  <c:v>476</c:v>
                </c:pt>
                <c:pt idx="343">
                  <c:v>475</c:v>
                </c:pt>
                <c:pt idx="344">
                  <c:v>475</c:v>
                </c:pt>
                <c:pt idx="345">
                  <c:v>475</c:v>
                </c:pt>
                <c:pt idx="346">
                  <c:v>475</c:v>
                </c:pt>
                <c:pt idx="347">
                  <c:v>475</c:v>
                </c:pt>
                <c:pt idx="348">
                  <c:v>475</c:v>
                </c:pt>
                <c:pt idx="349">
                  <c:v>476</c:v>
                </c:pt>
                <c:pt idx="350">
                  <c:v>476</c:v>
                </c:pt>
                <c:pt idx="351">
                  <c:v>476</c:v>
                </c:pt>
                <c:pt idx="352">
                  <c:v>477</c:v>
                </c:pt>
                <c:pt idx="353">
                  <c:v>476</c:v>
                </c:pt>
                <c:pt idx="354">
                  <c:v>476</c:v>
                </c:pt>
                <c:pt idx="355">
                  <c:v>476</c:v>
                </c:pt>
                <c:pt idx="356">
                  <c:v>479</c:v>
                </c:pt>
                <c:pt idx="357">
                  <c:v>479</c:v>
                </c:pt>
                <c:pt idx="358">
                  <c:v>479</c:v>
                </c:pt>
                <c:pt idx="359">
                  <c:v>479</c:v>
                </c:pt>
                <c:pt idx="360">
                  <c:v>480</c:v>
                </c:pt>
                <c:pt idx="361">
                  <c:v>479</c:v>
                </c:pt>
                <c:pt idx="362">
                  <c:v>479</c:v>
                </c:pt>
                <c:pt idx="363">
                  <c:v>479</c:v>
                </c:pt>
                <c:pt idx="364">
                  <c:v>479</c:v>
                </c:pt>
                <c:pt idx="365">
                  <c:v>484</c:v>
                </c:pt>
                <c:pt idx="366">
                  <c:v>489</c:v>
                </c:pt>
                <c:pt idx="367">
                  <c:v>492</c:v>
                </c:pt>
                <c:pt idx="368">
                  <c:v>493</c:v>
                </c:pt>
                <c:pt idx="369">
                  <c:v>492</c:v>
                </c:pt>
                <c:pt idx="370">
                  <c:v>497</c:v>
                </c:pt>
                <c:pt idx="371">
                  <c:v>495</c:v>
                </c:pt>
                <c:pt idx="372">
                  <c:v>496</c:v>
                </c:pt>
                <c:pt idx="373">
                  <c:v>497</c:v>
                </c:pt>
                <c:pt idx="374">
                  <c:v>497</c:v>
                </c:pt>
                <c:pt idx="375">
                  <c:v>496</c:v>
                </c:pt>
                <c:pt idx="376">
                  <c:v>495</c:v>
                </c:pt>
                <c:pt idx="377">
                  <c:v>496</c:v>
                </c:pt>
                <c:pt idx="378">
                  <c:v>497</c:v>
                </c:pt>
                <c:pt idx="379">
                  <c:v>496</c:v>
                </c:pt>
                <c:pt idx="380">
                  <c:v>495</c:v>
                </c:pt>
                <c:pt idx="381">
                  <c:v>492</c:v>
                </c:pt>
                <c:pt idx="382">
                  <c:v>490</c:v>
                </c:pt>
                <c:pt idx="383">
                  <c:v>490</c:v>
                </c:pt>
                <c:pt idx="384">
                  <c:v>495</c:v>
                </c:pt>
                <c:pt idx="385">
                  <c:v>495</c:v>
                </c:pt>
                <c:pt idx="386">
                  <c:v>495</c:v>
                </c:pt>
                <c:pt idx="387">
                  <c:v>493</c:v>
                </c:pt>
                <c:pt idx="388">
                  <c:v>493</c:v>
                </c:pt>
                <c:pt idx="389">
                  <c:v>494</c:v>
                </c:pt>
                <c:pt idx="390">
                  <c:v>495</c:v>
                </c:pt>
                <c:pt idx="391">
                  <c:v>501</c:v>
                </c:pt>
                <c:pt idx="392">
                  <c:v>501</c:v>
                </c:pt>
                <c:pt idx="393">
                  <c:v>507</c:v>
                </c:pt>
                <c:pt idx="394">
                  <c:v>508</c:v>
                </c:pt>
                <c:pt idx="395">
                  <c:v>510</c:v>
                </c:pt>
                <c:pt idx="396">
                  <c:v>510</c:v>
                </c:pt>
                <c:pt idx="397">
                  <c:v>510</c:v>
                </c:pt>
                <c:pt idx="398">
                  <c:v>514</c:v>
                </c:pt>
                <c:pt idx="399">
                  <c:v>518</c:v>
                </c:pt>
                <c:pt idx="400">
                  <c:v>526</c:v>
                </c:pt>
                <c:pt idx="401">
                  <c:v>526</c:v>
                </c:pt>
                <c:pt idx="402">
                  <c:v>552</c:v>
                </c:pt>
                <c:pt idx="403">
                  <c:v>553</c:v>
                </c:pt>
                <c:pt idx="404">
                  <c:v>551</c:v>
                </c:pt>
                <c:pt idx="405">
                  <c:v>554</c:v>
                </c:pt>
                <c:pt idx="406">
                  <c:v>550</c:v>
                </c:pt>
                <c:pt idx="407">
                  <c:v>569</c:v>
                </c:pt>
                <c:pt idx="408">
                  <c:v>567</c:v>
                </c:pt>
                <c:pt idx="409">
                  <c:v>572</c:v>
                </c:pt>
                <c:pt idx="410">
                  <c:v>572</c:v>
                </c:pt>
                <c:pt idx="411">
                  <c:v>572</c:v>
                </c:pt>
                <c:pt idx="412">
                  <c:v>588</c:v>
                </c:pt>
                <c:pt idx="413">
                  <c:v>593</c:v>
                </c:pt>
                <c:pt idx="414">
                  <c:v>597</c:v>
                </c:pt>
                <c:pt idx="415">
                  <c:v>599</c:v>
                </c:pt>
                <c:pt idx="416">
                  <c:v>588</c:v>
                </c:pt>
                <c:pt idx="417">
                  <c:v>583</c:v>
                </c:pt>
                <c:pt idx="418">
                  <c:v>585</c:v>
                </c:pt>
                <c:pt idx="419">
                  <c:v>616</c:v>
                </c:pt>
                <c:pt idx="420">
                  <c:v>626</c:v>
                </c:pt>
                <c:pt idx="421">
                  <c:v>648</c:v>
                </c:pt>
                <c:pt idx="422">
                  <c:v>633</c:v>
                </c:pt>
                <c:pt idx="423">
                  <c:v>656</c:v>
                </c:pt>
                <c:pt idx="424">
                  <c:v>659</c:v>
                </c:pt>
                <c:pt idx="425">
                  <c:v>669</c:v>
                </c:pt>
                <c:pt idx="426">
                  <c:v>745</c:v>
                </c:pt>
                <c:pt idx="427">
                  <c:v>766</c:v>
                </c:pt>
                <c:pt idx="428">
                  <c:v>783</c:v>
                </c:pt>
                <c:pt idx="429">
                  <c:v>843</c:v>
                </c:pt>
                <c:pt idx="430">
                  <c:v>880</c:v>
                </c:pt>
                <c:pt idx="431">
                  <c:v>880</c:v>
                </c:pt>
                <c:pt idx="432">
                  <c:v>881</c:v>
                </c:pt>
                <c:pt idx="433">
                  <c:v>953</c:v>
                </c:pt>
                <c:pt idx="434">
                  <c:v>981</c:v>
                </c:pt>
                <c:pt idx="435">
                  <c:v>997</c:v>
                </c:pt>
                <c:pt idx="436">
                  <c:v>1031</c:v>
                </c:pt>
                <c:pt idx="437">
                  <c:v>1072</c:v>
                </c:pt>
                <c:pt idx="438">
                  <c:v>1077</c:v>
                </c:pt>
                <c:pt idx="439">
                  <c:v>1088</c:v>
                </c:pt>
                <c:pt idx="440">
                  <c:v>1166</c:v>
                </c:pt>
                <c:pt idx="441">
                  <c:v>1164</c:v>
                </c:pt>
                <c:pt idx="442">
                  <c:v>1150</c:v>
                </c:pt>
                <c:pt idx="443">
                  <c:v>1198</c:v>
                </c:pt>
                <c:pt idx="444">
                  <c:v>1278</c:v>
                </c:pt>
                <c:pt idx="445">
                  <c:v>1267</c:v>
                </c:pt>
                <c:pt idx="446">
                  <c:v>1261</c:v>
                </c:pt>
                <c:pt idx="447">
                  <c:v>1362</c:v>
                </c:pt>
                <c:pt idx="448">
                  <c:v>1351</c:v>
                </c:pt>
                <c:pt idx="449">
                  <c:v>1368</c:v>
                </c:pt>
                <c:pt idx="450">
                  <c:v>1371</c:v>
                </c:pt>
                <c:pt idx="451">
                  <c:v>1410</c:v>
                </c:pt>
                <c:pt idx="452">
                  <c:v>1383</c:v>
                </c:pt>
                <c:pt idx="453">
                  <c:v>1373</c:v>
                </c:pt>
                <c:pt idx="454">
                  <c:v>1436</c:v>
                </c:pt>
                <c:pt idx="455">
                  <c:v>1396</c:v>
                </c:pt>
                <c:pt idx="456">
                  <c:v>1360</c:v>
                </c:pt>
                <c:pt idx="457">
                  <c:v>1376</c:v>
                </c:pt>
                <c:pt idx="458">
                  <c:v>1232</c:v>
                </c:pt>
                <c:pt idx="459">
                  <c:v>1217</c:v>
                </c:pt>
                <c:pt idx="460">
                  <c:v>1188</c:v>
                </c:pt>
                <c:pt idx="461">
                  <c:v>1240</c:v>
                </c:pt>
                <c:pt idx="462">
                  <c:v>1178</c:v>
                </c:pt>
                <c:pt idx="463">
                  <c:v>1147</c:v>
                </c:pt>
                <c:pt idx="464">
                  <c:v>1098</c:v>
                </c:pt>
                <c:pt idx="465">
                  <c:v>1036</c:v>
                </c:pt>
                <c:pt idx="466">
                  <c:v>988</c:v>
                </c:pt>
                <c:pt idx="467">
                  <c:v>979</c:v>
                </c:pt>
                <c:pt idx="468">
                  <c:v>1005</c:v>
                </c:pt>
                <c:pt idx="469">
                  <c:v>962</c:v>
                </c:pt>
                <c:pt idx="470">
                  <c:v>922</c:v>
                </c:pt>
                <c:pt idx="471">
                  <c:v>875</c:v>
                </c:pt>
                <c:pt idx="472">
                  <c:v>834</c:v>
                </c:pt>
                <c:pt idx="473">
                  <c:v>741</c:v>
                </c:pt>
                <c:pt idx="474">
                  <c:v>735</c:v>
                </c:pt>
                <c:pt idx="475">
                  <c:v>757</c:v>
                </c:pt>
                <c:pt idx="476">
                  <c:v>686</c:v>
                </c:pt>
                <c:pt idx="477">
                  <c:v>634</c:v>
                </c:pt>
                <c:pt idx="478">
                  <c:v>570</c:v>
                </c:pt>
                <c:pt idx="479">
                  <c:v>533</c:v>
                </c:pt>
                <c:pt idx="480">
                  <c:v>499</c:v>
                </c:pt>
                <c:pt idx="481">
                  <c:v>485</c:v>
                </c:pt>
                <c:pt idx="482">
                  <c:v>493</c:v>
                </c:pt>
                <c:pt idx="483">
                  <c:v>450</c:v>
                </c:pt>
                <c:pt idx="484">
                  <c:v>411</c:v>
                </c:pt>
                <c:pt idx="485">
                  <c:v>383</c:v>
                </c:pt>
                <c:pt idx="486">
                  <c:v>364</c:v>
                </c:pt>
                <c:pt idx="487">
                  <c:v>335</c:v>
                </c:pt>
                <c:pt idx="488">
                  <c:v>323</c:v>
                </c:pt>
                <c:pt idx="489">
                  <c:v>333</c:v>
                </c:pt>
                <c:pt idx="490">
                  <c:v>305</c:v>
                </c:pt>
                <c:pt idx="491">
                  <c:v>295</c:v>
                </c:pt>
                <c:pt idx="492">
                  <c:v>295</c:v>
                </c:pt>
                <c:pt idx="493">
                  <c:v>297</c:v>
                </c:pt>
                <c:pt idx="494">
                  <c:v>292</c:v>
                </c:pt>
                <c:pt idx="495">
                  <c:v>290</c:v>
                </c:pt>
                <c:pt idx="496">
                  <c:v>305</c:v>
                </c:pt>
                <c:pt idx="497">
                  <c:v>287</c:v>
                </c:pt>
                <c:pt idx="498">
                  <c:v>277</c:v>
                </c:pt>
                <c:pt idx="499">
                  <c:v>271</c:v>
                </c:pt>
                <c:pt idx="500">
                  <c:v>271</c:v>
                </c:pt>
                <c:pt idx="501">
                  <c:v>270</c:v>
                </c:pt>
                <c:pt idx="502">
                  <c:v>281</c:v>
                </c:pt>
                <c:pt idx="503">
                  <c:v>333</c:v>
                </c:pt>
                <c:pt idx="504">
                  <c:v>343</c:v>
                </c:pt>
                <c:pt idx="505">
                  <c:v>363</c:v>
                </c:pt>
                <c:pt idx="506">
                  <c:v>428</c:v>
                </c:pt>
                <c:pt idx="507">
                  <c:v>477</c:v>
                </c:pt>
                <c:pt idx="508">
                  <c:v>480</c:v>
                </c:pt>
                <c:pt idx="509">
                  <c:v>491</c:v>
                </c:pt>
                <c:pt idx="510">
                  <c:v>534</c:v>
                </c:pt>
                <c:pt idx="511">
                  <c:v>630</c:v>
                </c:pt>
                <c:pt idx="512">
                  <c:v>751</c:v>
                </c:pt>
                <c:pt idx="513">
                  <c:v>828</c:v>
                </c:pt>
                <c:pt idx="514">
                  <c:v>8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C$2:$C$104</c:f>
              <c:numCache>
                <c:formatCode>General</c:formatCode>
                <c:ptCount val="10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3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3</c:v>
                </c:pt>
                <c:pt idx="38">
                  <c:v>1</c:v>
                </c:pt>
                <c:pt idx="39">
                  <c:v>3</c:v>
                </c:pt>
                <c:pt idx="40">
                  <c:v>0</c:v>
                </c:pt>
                <c:pt idx="41">
                  <c:v>2</c:v>
                </c:pt>
                <c:pt idx="42">
                  <c:v>2</c:v>
                </c:pt>
                <c:pt idx="43">
                  <c:v>0</c:v>
                </c:pt>
                <c:pt idx="44">
                  <c:v>1</c:v>
                </c:pt>
                <c:pt idx="45">
                  <c:v>2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5</c:v>
                </c:pt>
                <c:pt idx="51">
                  <c:v>3</c:v>
                </c:pt>
                <c:pt idx="52">
                  <c:v>4</c:v>
                </c:pt>
                <c:pt idx="53">
                  <c:v>6</c:v>
                </c:pt>
                <c:pt idx="54">
                  <c:v>3</c:v>
                </c:pt>
                <c:pt idx="55">
                  <c:v>11</c:v>
                </c:pt>
                <c:pt idx="56">
                  <c:v>11</c:v>
                </c:pt>
                <c:pt idx="57">
                  <c:v>16</c:v>
                </c:pt>
                <c:pt idx="58">
                  <c:v>9</c:v>
                </c:pt>
                <c:pt idx="59">
                  <c:v>17</c:v>
                </c:pt>
                <c:pt idx="60">
                  <c:v>20</c:v>
                </c:pt>
                <c:pt idx="61">
                  <c:v>20</c:v>
                </c:pt>
                <c:pt idx="62">
                  <c:v>23</c:v>
                </c:pt>
                <c:pt idx="63">
                  <c:v>31</c:v>
                </c:pt>
                <c:pt idx="64">
                  <c:v>31</c:v>
                </c:pt>
                <c:pt idx="65">
                  <c:v>41</c:v>
                </c:pt>
                <c:pt idx="66">
                  <c:v>47</c:v>
                </c:pt>
                <c:pt idx="67">
                  <c:v>34</c:v>
                </c:pt>
                <c:pt idx="68">
                  <c:v>54</c:v>
                </c:pt>
                <c:pt idx="69">
                  <c:v>62</c:v>
                </c:pt>
                <c:pt idx="70">
                  <c:v>79</c:v>
                </c:pt>
                <c:pt idx="71">
                  <c:v>67</c:v>
                </c:pt>
                <c:pt idx="72">
                  <c:v>85</c:v>
                </c:pt>
                <c:pt idx="73">
                  <c:v>85</c:v>
                </c:pt>
                <c:pt idx="74">
                  <c:v>102</c:v>
                </c:pt>
                <c:pt idx="75">
                  <c:v>110</c:v>
                </c:pt>
                <c:pt idx="76">
                  <c:v>113</c:v>
                </c:pt>
                <c:pt idx="77">
                  <c:v>129</c:v>
                </c:pt>
                <c:pt idx="78">
                  <c:v>110</c:v>
                </c:pt>
                <c:pt idx="79">
                  <c:v>131</c:v>
                </c:pt>
                <c:pt idx="80">
                  <c:v>140</c:v>
                </c:pt>
                <c:pt idx="81">
                  <c:v>157</c:v>
                </c:pt>
                <c:pt idx="82">
                  <c:v>184</c:v>
                </c:pt>
                <c:pt idx="83">
                  <c:v>159</c:v>
                </c:pt>
                <c:pt idx="84">
                  <c:v>197</c:v>
                </c:pt>
                <c:pt idx="85">
                  <c:v>198</c:v>
                </c:pt>
                <c:pt idx="86">
                  <c:v>179</c:v>
                </c:pt>
                <c:pt idx="87">
                  <c:v>181</c:v>
                </c:pt>
                <c:pt idx="88">
                  <c:v>154</c:v>
                </c:pt>
                <c:pt idx="89">
                  <c:v>104</c:v>
                </c:pt>
                <c:pt idx="90">
                  <c:v>90</c:v>
                </c:pt>
                <c:pt idx="91">
                  <c:v>63</c:v>
                </c:pt>
                <c:pt idx="92">
                  <c:v>61</c:v>
                </c:pt>
                <c:pt idx="93">
                  <c:v>50</c:v>
                </c:pt>
                <c:pt idx="94">
                  <c:v>28</c:v>
                </c:pt>
                <c:pt idx="95">
                  <c:v>22</c:v>
                </c:pt>
                <c:pt idx="96">
                  <c:v>9</c:v>
                </c:pt>
                <c:pt idx="97">
                  <c:v>5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1</c:v>
                </c:pt>
                <c:pt idx="10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B$2:$B$104</c:f>
              <c:numCache>
                <c:formatCode>General</c:formatCode>
                <c:ptCount val="103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10</c:v>
                </c:pt>
                <c:pt idx="6">
                  <c:v>3</c:v>
                </c:pt>
                <c:pt idx="7">
                  <c:v>15</c:v>
                </c:pt>
                <c:pt idx="8">
                  <c:v>13</c:v>
                </c:pt>
                <c:pt idx="9">
                  <c:v>19</c:v>
                </c:pt>
                <c:pt idx="10">
                  <c:v>19</c:v>
                </c:pt>
                <c:pt idx="11">
                  <c:v>14</c:v>
                </c:pt>
                <c:pt idx="12">
                  <c:v>30</c:v>
                </c:pt>
                <c:pt idx="13">
                  <c:v>15</c:v>
                </c:pt>
                <c:pt idx="14">
                  <c:v>22</c:v>
                </c:pt>
                <c:pt idx="15">
                  <c:v>23</c:v>
                </c:pt>
                <c:pt idx="16">
                  <c:v>33</c:v>
                </c:pt>
                <c:pt idx="17">
                  <c:v>27</c:v>
                </c:pt>
                <c:pt idx="18">
                  <c:v>24</c:v>
                </c:pt>
                <c:pt idx="19">
                  <c:v>36</c:v>
                </c:pt>
                <c:pt idx="20">
                  <c:v>45</c:v>
                </c:pt>
                <c:pt idx="21">
                  <c:v>53</c:v>
                </c:pt>
                <c:pt idx="22">
                  <c:v>62</c:v>
                </c:pt>
                <c:pt idx="23">
                  <c:v>56</c:v>
                </c:pt>
                <c:pt idx="24">
                  <c:v>74</c:v>
                </c:pt>
                <c:pt idx="25">
                  <c:v>62</c:v>
                </c:pt>
                <c:pt idx="26">
                  <c:v>74</c:v>
                </c:pt>
                <c:pt idx="27">
                  <c:v>80</c:v>
                </c:pt>
                <c:pt idx="28">
                  <c:v>80</c:v>
                </c:pt>
                <c:pt idx="29">
                  <c:v>83</c:v>
                </c:pt>
                <c:pt idx="30">
                  <c:v>95</c:v>
                </c:pt>
                <c:pt idx="31">
                  <c:v>88</c:v>
                </c:pt>
                <c:pt idx="32">
                  <c:v>80</c:v>
                </c:pt>
                <c:pt idx="33">
                  <c:v>93</c:v>
                </c:pt>
                <c:pt idx="34">
                  <c:v>121</c:v>
                </c:pt>
                <c:pt idx="35">
                  <c:v>104</c:v>
                </c:pt>
                <c:pt idx="36">
                  <c:v>127</c:v>
                </c:pt>
                <c:pt idx="37">
                  <c:v>146</c:v>
                </c:pt>
                <c:pt idx="38">
                  <c:v>128</c:v>
                </c:pt>
                <c:pt idx="39">
                  <c:v>133</c:v>
                </c:pt>
                <c:pt idx="40">
                  <c:v>152</c:v>
                </c:pt>
                <c:pt idx="41">
                  <c:v>150</c:v>
                </c:pt>
                <c:pt idx="42">
                  <c:v>150</c:v>
                </c:pt>
                <c:pt idx="43">
                  <c:v>150</c:v>
                </c:pt>
                <c:pt idx="44">
                  <c:v>134</c:v>
                </c:pt>
                <c:pt idx="45">
                  <c:v>139</c:v>
                </c:pt>
                <c:pt idx="46">
                  <c:v>143</c:v>
                </c:pt>
                <c:pt idx="47">
                  <c:v>163</c:v>
                </c:pt>
                <c:pt idx="48">
                  <c:v>128</c:v>
                </c:pt>
                <c:pt idx="49">
                  <c:v>146</c:v>
                </c:pt>
                <c:pt idx="50">
                  <c:v>165</c:v>
                </c:pt>
                <c:pt idx="51">
                  <c:v>188</c:v>
                </c:pt>
                <c:pt idx="52">
                  <c:v>170</c:v>
                </c:pt>
                <c:pt idx="53">
                  <c:v>172</c:v>
                </c:pt>
                <c:pt idx="54">
                  <c:v>147</c:v>
                </c:pt>
                <c:pt idx="55">
                  <c:v>186</c:v>
                </c:pt>
                <c:pt idx="56">
                  <c:v>206</c:v>
                </c:pt>
                <c:pt idx="57">
                  <c:v>212</c:v>
                </c:pt>
                <c:pt idx="58">
                  <c:v>223</c:v>
                </c:pt>
                <c:pt idx="59">
                  <c:v>261</c:v>
                </c:pt>
                <c:pt idx="60">
                  <c:v>301</c:v>
                </c:pt>
                <c:pt idx="61">
                  <c:v>285</c:v>
                </c:pt>
                <c:pt idx="62">
                  <c:v>312</c:v>
                </c:pt>
                <c:pt idx="63">
                  <c:v>327</c:v>
                </c:pt>
                <c:pt idx="64">
                  <c:v>350</c:v>
                </c:pt>
                <c:pt idx="65">
                  <c:v>430</c:v>
                </c:pt>
                <c:pt idx="66">
                  <c:v>443</c:v>
                </c:pt>
                <c:pt idx="67">
                  <c:v>448</c:v>
                </c:pt>
                <c:pt idx="68">
                  <c:v>544</c:v>
                </c:pt>
                <c:pt idx="69">
                  <c:v>586</c:v>
                </c:pt>
                <c:pt idx="70">
                  <c:v>616</c:v>
                </c:pt>
                <c:pt idx="71">
                  <c:v>569</c:v>
                </c:pt>
                <c:pt idx="72">
                  <c:v>725</c:v>
                </c:pt>
                <c:pt idx="73">
                  <c:v>737</c:v>
                </c:pt>
                <c:pt idx="74">
                  <c:v>769</c:v>
                </c:pt>
                <c:pt idx="75">
                  <c:v>834</c:v>
                </c:pt>
                <c:pt idx="76">
                  <c:v>891</c:v>
                </c:pt>
                <c:pt idx="77">
                  <c:v>891</c:v>
                </c:pt>
                <c:pt idx="78">
                  <c:v>908</c:v>
                </c:pt>
                <c:pt idx="79">
                  <c:v>1021</c:v>
                </c:pt>
                <c:pt idx="80">
                  <c:v>983</c:v>
                </c:pt>
                <c:pt idx="81">
                  <c:v>1139</c:v>
                </c:pt>
                <c:pt idx="82">
                  <c:v>1170</c:v>
                </c:pt>
                <c:pt idx="83">
                  <c:v>1193</c:v>
                </c:pt>
                <c:pt idx="84">
                  <c:v>1270</c:v>
                </c:pt>
                <c:pt idx="85">
                  <c:v>1201</c:v>
                </c:pt>
                <c:pt idx="86">
                  <c:v>1182</c:v>
                </c:pt>
                <c:pt idx="87">
                  <c:v>1019</c:v>
                </c:pt>
                <c:pt idx="88">
                  <c:v>900</c:v>
                </c:pt>
                <c:pt idx="89">
                  <c:v>739</c:v>
                </c:pt>
                <c:pt idx="90">
                  <c:v>528</c:v>
                </c:pt>
                <c:pt idx="91">
                  <c:v>411</c:v>
                </c:pt>
                <c:pt idx="92">
                  <c:v>313</c:v>
                </c:pt>
                <c:pt idx="93">
                  <c:v>233</c:v>
                </c:pt>
                <c:pt idx="94">
                  <c:v>149</c:v>
                </c:pt>
                <c:pt idx="95">
                  <c:v>90</c:v>
                </c:pt>
                <c:pt idx="96">
                  <c:v>44</c:v>
                </c:pt>
                <c:pt idx="97">
                  <c:v>28</c:v>
                </c:pt>
                <c:pt idx="98">
                  <c:v>7</c:v>
                </c:pt>
                <c:pt idx="99">
                  <c:v>5</c:v>
                </c:pt>
                <c:pt idx="100">
                  <c:v>3</c:v>
                </c:pt>
                <c:pt idx="101">
                  <c:v>2</c:v>
                </c:pt>
                <c:pt idx="10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16</c:f>
              <c:numCache>
                <c:formatCode>m/d/yyyy</c:formatCode>
                <c:ptCount val="5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</c:numCache>
            </c:numRef>
          </c:cat>
          <c:val>
            <c:numRef>
              <c:f>Sheet1!$B$2:$B$516</c:f>
              <c:numCache>
                <c:formatCode>#\ ##0_ ;\-#\ ##0\ </c:formatCode>
                <c:ptCount val="515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4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5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1</c:v>
                </c:pt>
                <c:pt idx="31">
                  <c:v>62</c:v>
                </c:pt>
                <c:pt idx="32">
                  <c:v>36</c:v>
                </c:pt>
                <c:pt idx="33">
                  <c:v>54</c:v>
                </c:pt>
                <c:pt idx="34">
                  <c:v>167</c:v>
                </c:pt>
                <c:pt idx="35">
                  <c:v>82</c:v>
                </c:pt>
                <c:pt idx="36">
                  <c:v>45</c:v>
                </c:pt>
                <c:pt idx="37">
                  <c:v>78</c:v>
                </c:pt>
                <c:pt idx="38">
                  <c:v>139</c:v>
                </c:pt>
                <c:pt idx="39">
                  <c:v>30</c:v>
                </c:pt>
                <c:pt idx="40">
                  <c:v>13</c:v>
                </c:pt>
                <c:pt idx="41">
                  <c:v>138</c:v>
                </c:pt>
                <c:pt idx="42">
                  <c:v>224</c:v>
                </c:pt>
                <c:pt idx="43">
                  <c:v>181</c:v>
                </c:pt>
                <c:pt idx="44">
                  <c:v>195</c:v>
                </c:pt>
                <c:pt idx="45">
                  <c:v>205</c:v>
                </c:pt>
                <c:pt idx="46">
                  <c:v>155</c:v>
                </c:pt>
                <c:pt idx="47">
                  <c:v>41</c:v>
                </c:pt>
                <c:pt idx="48">
                  <c:v>242</c:v>
                </c:pt>
                <c:pt idx="49">
                  <c:v>200</c:v>
                </c:pt>
                <c:pt idx="50">
                  <c:v>326</c:v>
                </c:pt>
                <c:pt idx="51">
                  <c:v>228</c:v>
                </c:pt>
                <c:pt idx="52">
                  <c:v>418</c:v>
                </c:pt>
                <c:pt idx="53">
                  <c:v>227</c:v>
                </c:pt>
                <c:pt idx="54">
                  <c:v>195</c:v>
                </c:pt>
                <c:pt idx="55">
                  <c:v>387</c:v>
                </c:pt>
                <c:pt idx="56">
                  <c:v>523</c:v>
                </c:pt>
                <c:pt idx="57">
                  <c:v>261</c:v>
                </c:pt>
                <c:pt idx="58">
                  <c:v>540</c:v>
                </c:pt>
                <c:pt idx="59">
                  <c:v>588</c:v>
                </c:pt>
                <c:pt idx="60">
                  <c:v>337</c:v>
                </c:pt>
                <c:pt idx="61">
                  <c:v>213</c:v>
                </c:pt>
                <c:pt idx="62">
                  <c:v>332</c:v>
                </c:pt>
                <c:pt idx="63">
                  <c:v>332</c:v>
                </c:pt>
                <c:pt idx="64">
                  <c:v>424</c:v>
                </c:pt>
                <c:pt idx="65">
                  <c:v>534</c:v>
                </c:pt>
                <c:pt idx="66">
                  <c:v>490</c:v>
                </c:pt>
                <c:pt idx="67">
                  <c:v>215</c:v>
                </c:pt>
                <c:pt idx="68">
                  <c:v>78</c:v>
                </c:pt>
                <c:pt idx="69">
                  <c:v>205</c:v>
                </c:pt>
                <c:pt idx="70">
                  <c:v>385</c:v>
                </c:pt>
                <c:pt idx="71">
                  <c:v>677</c:v>
                </c:pt>
                <c:pt idx="72">
                  <c:v>499</c:v>
                </c:pt>
                <c:pt idx="73">
                  <c:v>483</c:v>
                </c:pt>
                <c:pt idx="74">
                  <c:v>180</c:v>
                </c:pt>
                <c:pt idx="75">
                  <c:v>166</c:v>
                </c:pt>
                <c:pt idx="76">
                  <c:v>385</c:v>
                </c:pt>
                <c:pt idx="77">
                  <c:v>139</c:v>
                </c:pt>
                <c:pt idx="78">
                  <c:v>268</c:v>
                </c:pt>
                <c:pt idx="79">
                  <c:v>269</c:v>
                </c:pt>
                <c:pt idx="80">
                  <c:v>240</c:v>
                </c:pt>
                <c:pt idx="81">
                  <c:v>94</c:v>
                </c:pt>
                <c:pt idx="82">
                  <c:v>91</c:v>
                </c:pt>
                <c:pt idx="83">
                  <c:v>380</c:v>
                </c:pt>
                <c:pt idx="84">
                  <c:v>199</c:v>
                </c:pt>
                <c:pt idx="85">
                  <c:v>126</c:v>
                </c:pt>
                <c:pt idx="86">
                  <c:v>195</c:v>
                </c:pt>
                <c:pt idx="87">
                  <c:v>139</c:v>
                </c:pt>
                <c:pt idx="88">
                  <c:v>78</c:v>
                </c:pt>
                <c:pt idx="89">
                  <c:v>28</c:v>
                </c:pt>
                <c:pt idx="90">
                  <c:v>213</c:v>
                </c:pt>
                <c:pt idx="91">
                  <c:v>124</c:v>
                </c:pt>
                <c:pt idx="92">
                  <c:v>133</c:v>
                </c:pt>
                <c:pt idx="93">
                  <c:v>129</c:v>
                </c:pt>
                <c:pt idx="94">
                  <c:v>143</c:v>
                </c:pt>
                <c:pt idx="95">
                  <c:v>89</c:v>
                </c:pt>
                <c:pt idx="96">
                  <c:v>20</c:v>
                </c:pt>
                <c:pt idx="97">
                  <c:v>142</c:v>
                </c:pt>
                <c:pt idx="98">
                  <c:v>89</c:v>
                </c:pt>
                <c:pt idx="99">
                  <c:v>141</c:v>
                </c:pt>
                <c:pt idx="100">
                  <c:v>83</c:v>
                </c:pt>
                <c:pt idx="101">
                  <c:v>230</c:v>
                </c:pt>
                <c:pt idx="102">
                  <c:v>67</c:v>
                </c:pt>
                <c:pt idx="103">
                  <c:v>50</c:v>
                </c:pt>
                <c:pt idx="104">
                  <c:v>148</c:v>
                </c:pt>
                <c:pt idx="105">
                  <c:v>133</c:v>
                </c:pt>
                <c:pt idx="106">
                  <c:v>100</c:v>
                </c:pt>
                <c:pt idx="107">
                  <c:v>68</c:v>
                </c:pt>
                <c:pt idx="108">
                  <c:v>223</c:v>
                </c:pt>
                <c:pt idx="109">
                  <c:v>61</c:v>
                </c:pt>
                <c:pt idx="110">
                  <c:v>21</c:v>
                </c:pt>
                <c:pt idx="111">
                  <c:v>179</c:v>
                </c:pt>
                <c:pt idx="112">
                  <c:v>176</c:v>
                </c:pt>
                <c:pt idx="113">
                  <c:v>122</c:v>
                </c:pt>
                <c:pt idx="114">
                  <c:v>18</c:v>
                </c:pt>
                <c:pt idx="115">
                  <c:v>71</c:v>
                </c:pt>
                <c:pt idx="116">
                  <c:v>78</c:v>
                </c:pt>
                <c:pt idx="117">
                  <c:v>98</c:v>
                </c:pt>
                <c:pt idx="118">
                  <c:v>165</c:v>
                </c:pt>
                <c:pt idx="119">
                  <c:v>185</c:v>
                </c:pt>
                <c:pt idx="120">
                  <c:v>144</c:v>
                </c:pt>
                <c:pt idx="121">
                  <c:v>133</c:v>
                </c:pt>
                <c:pt idx="122">
                  <c:v>65</c:v>
                </c:pt>
                <c:pt idx="123">
                  <c:v>60</c:v>
                </c:pt>
                <c:pt idx="124">
                  <c:v>42</c:v>
                </c:pt>
                <c:pt idx="125">
                  <c:v>269</c:v>
                </c:pt>
                <c:pt idx="126">
                  <c:v>154</c:v>
                </c:pt>
                <c:pt idx="127">
                  <c:v>160</c:v>
                </c:pt>
                <c:pt idx="128">
                  <c:v>232</c:v>
                </c:pt>
                <c:pt idx="129">
                  <c:v>187</c:v>
                </c:pt>
                <c:pt idx="130">
                  <c:v>61</c:v>
                </c:pt>
                <c:pt idx="131">
                  <c:v>31</c:v>
                </c:pt>
                <c:pt idx="132">
                  <c:v>239</c:v>
                </c:pt>
                <c:pt idx="133">
                  <c:v>126</c:v>
                </c:pt>
                <c:pt idx="134">
                  <c:v>175</c:v>
                </c:pt>
                <c:pt idx="135">
                  <c:v>97</c:v>
                </c:pt>
                <c:pt idx="136">
                  <c:v>86</c:v>
                </c:pt>
                <c:pt idx="137">
                  <c:v>35</c:v>
                </c:pt>
                <c:pt idx="138">
                  <c:v>45</c:v>
                </c:pt>
                <c:pt idx="139">
                  <c:v>162</c:v>
                </c:pt>
                <c:pt idx="140">
                  <c:v>79</c:v>
                </c:pt>
                <c:pt idx="141">
                  <c:v>147</c:v>
                </c:pt>
                <c:pt idx="142">
                  <c:v>106</c:v>
                </c:pt>
                <c:pt idx="143">
                  <c:v>116</c:v>
                </c:pt>
                <c:pt idx="144">
                  <c:v>53</c:v>
                </c:pt>
                <c:pt idx="145">
                  <c:v>25</c:v>
                </c:pt>
                <c:pt idx="146">
                  <c:v>84</c:v>
                </c:pt>
                <c:pt idx="147">
                  <c:v>41</c:v>
                </c:pt>
                <c:pt idx="148">
                  <c:v>95</c:v>
                </c:pt>
                <c:pt idx="149">
                  <c:v>67</c:v>
                </c:pt>
                <c:pt idx="150">
                  <c:v>37</c:v>
                </c:pt>
                <c:pt idx="151">
                  <c:v>49</c:v>
                </c:pt>
                <c:pt idx="152">
                  <c:v>10</c:v>
                </c:pt>
                <c:pt idx="153">
                  <c:v>106</c:v>
                </c:pt>
                <c:pt idx="154">
                  <c:v>94</c:v>
                </c:pt>
                <c:pt idx="155">
                  <c:v>102</c:v>
                </c:pt>
                <c:pt idx="156">
                  <c:v>82</c:v>
                </c:pt>
                <c:pt idx="157">
                  <c:v>84</c:v>
                </c:pt>
                <c:pt idx="158">
                  <c:v>44</c:v>
                </c:pt>
                <c:pt idx="159">
                  <c:v>16</c:v>
                </c:pt>
                <c:pt idx="160">
                  <c:v>65</c:v>
                </c:pt>
                <c:pt idx="161">
                  <c:v>66</c:v>
                </c:pt>
                <c:pt idx="162">
                  <c:v>67</c:v>
                </c:pt>
                <c:pt idx="163">
                  <c:v>65</c:v>
                </c:pt>
                <c:pt idx="164">
                  <c:v>53</c:v>
                </c:pt>
                <c:pt idx="165">
                  <c:v>8</c:v>
                </c:pt>
                <c:pt idx="166">
                  <c:v>13</c:v>
                </c:pt>
                <c:pt idx="167">
                  <c:v>37</c:v>
                </c:pt>
                <c:pt idx="168">
                  <c:v>17</c:v>
                </c:pt>
                <c:pt idx="169">
                  <c:v>30</c:v>
                </c:pt>
                <c:pt idx="170">
                  <c:v>28</c:v>
                </c:pt>
                <c:pt idx="171">
                  <c:v>28</c:v>
                </c:pt>
                <c:pt idx="172">
                  <c:v>18</c:v>
                </c:pt>
                <c:pt idx="173">
                  <c:v>5</c:v>
                </c:pt>
                <c:pt idx="174">
                  <c:v>89</c:v>
                </c:pt>
                <c:pt idx="175">
                  <c:v>36</c:v>
                </c:pt>
                <c:pt idx="176">
                  <c:v>34</c:v>
                </c:pt>
                <c:pt idx="177">
                  <c:v>46</c:v>
                </c:pt>
                <c:pt idx="178">
                  <c:v>46</c:v>
                </c:pt>
                <c:pt idx="179">
                  <c:v>10</c:v>
                </c:pt>
                <c:pt idx="180">
                  <c:v>3</c:v>
                </c:pt>
                <c:pt idx="181">
                  <c:v>78</c:v>
                </c:pt>
                <c:pt idx="182">
                  <c:v>28</c:v>
                </c:pt>
                <c:pt idx="183">
                  <c:v>46</c:v>
                </c:pt>
                <c:pt idx="184">
                  <c:v>10</c:v>
                </c:pt>
                <c:pt idx="185">
                  <c:v>23</c:v>
                </c:pt>
                <c:pt idx="186">
                  <c:v>5</c:v>
                </c:pt>
                <c:pt idx="187">
                  <c:v>5</c:v>
                </c:pt>
                <c:pt idx="188">
                  <c:v>27</c:v>
                </c:pt>
                <c:pt idx="189">
                  <c:v>80</c:v>
                </c:pt>
                <c:pt idx="190">
                  <c:v>55</c:v>
                </c:pt>
                <c:pt idx="191">
                  <c:v>12</c:v>
                </c:pt>
                <c:pt idx="192">
                  <c:v>25</c:v>
                </c:pt>
                <c:pt idx="193">
                  <c:v>9</c:v>
                </c:pt>
                <c:pt idx="194">
                  <c:v>6</c:v>
                </c:pt>
                <c:pt idx="195">
                  <c:v>29</c:v>
                </c:pt>
                <c:pt idx="196">
                  <c:v>20</c:v>
                </c:pt>
                <c:pt idx="197">
                  <c:v>7</c:v>
                </c:pt>
                <c:pt idx="198">
                  <c:v>37</c:v>
                </c:pt>
                <c:pt idx="199">
                  <c:v>18</c:v>
                </c:pt>
                <c:pt idx="200">
                  <c:v>9</c:v>
                </c:pt>
                <c:pt idx="201">
                  <c:v>4</c:v>
                </c:pt>
                <c:pt idx="202">
                  <c:v>13</c:v>
                </c:pt>
                <c:pt idx="203">
                  <c:v>30</c:v>
                </c:pt>
                <c:pt idx="204">
                  <c:v>20</c:v>
                </c:pt>
                <c:pt idx="205">
                  <c:v>31</c:v>
                </c:pt>
                <c:pt idx="206">
                  <c:v>6</c:v>
                </c:pt>
                <c:pt idx="207">
                  <c:v>3</c:v>
                </c:pt>
                <c:pt idx="208">
                  <c:v>4</c:v>
                </c:pt>
                <c:pt idx="209">
                  <c:v>21</c:v>
                </c:pt>
                <c:pt idx="210">
                  <c:v>11</c:v>
                </c:pt>
                <c:pt idx="211">
                  <c:v>11</c:v>
                </c:pt>
                <c:pt idx="212">
                  <c:v>9</c:v>
                </c:pt>
                <c:pt idx="213">
                  <c:v>4</c:v>
                </c:pt>
                <c:pt idx="214">
                  <c:v>4</c:v>
                </c:pt>
                <c:pt idx="215">
                  <c:v>2</c:v>
                </c:pt>
                <c:pt idx="216">
                  <c:v>1</c:v>
                </c:pt>
                <c:pt idx="217">
                  <c:v>5</c:v>
                </c:pt>
                <c:pt idx="218">
                  <c:v>18</c:v>
                </c:pt>
                <c:pt idx="219">
                  <c:v>1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1</c:v>
                </c:pt>
                <c:pt idx="224">
                  <c:v>2</c:v>
                </c:pt>
                <c:pt idx="225">
                  <c:v>1</c:v>
                </c:pt>
                <c:pt idx="226">
                  <c:v>4</c:v>
                </c:pt>
                <c:pt idx="227">
                  <c:v>1</c:v>
                </c:pt>
                <c:pt idx="228">
                  <c:v>1</c:v>
                </c:pt>
                <c:pt idx="229">
                  <c:v>1</c:v>
                </c:pt>
                <c:pt idx="230">
                  <c:v>5</c:v>
                </c:pt>
                <c:pt idx="231">
                  <c:v>4</c:v>
                </c:pt>
                <c:pt idx="232">
                  <c:v>3</c:v>
                </c:pt>
                <c:pt idx="233">
                  <c:v>9</c:v>
                </c:pt>
                <c:pt idx="234">
                  <c:v>5</c:v>
                </c:pt>
                <c:pt idx="235">
                  <c:v>1</c:v>
                </c:pt>
                <c:pt idx="236">
                  <c:v>0</c:v>
                </c:pt>
                <c:pt idx="237">
                  <c:v>1</c:v>
                </c:pt>
                <c:pt idx="238">
                  <c:v>3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1</c:v>
                </c:pt>
                <c:pt idx="245">
                  <c:v>0</c:v>
                </c:pt>
                <c:pt idx="246">
                  <c:v>2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2</c:v>
                </c:pt>
                <c:pt idx="255">
                  <c:v>3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4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11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0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5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1</c:v>
                </c:pt>
                <c:pt idx="422">
                  <c:v>0</c:v>
                </c:pt>
                <c:pt idx="423">
                  <c:v>18</c:v>
                </c:pt>
                <c:pt idx="424">
                  <c:v>7</c:v>
                </c:pt>
                <c:pt idx="425">
                  <c:v>11</c:v>
                </c:pt>
                <c:pt idx="426">
                  <c:v>35</c:v>
                </c:pt>
                <c:pt idx="427">
                  <c:v>14</c:v>
                </c:pt>
                <c:pt idx="428">
                  <c:v>16</c:v>
                </c:pt>
                <c:pt idx="429">
                  <c:v>52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29</c:v>
                </c:pt>
                <c:pt idx="434">
                  <c:v>29</c:v>
                </c:pt>
                <c:pt idx="435">
                  <c:v>15</c:v>
                </c:pt>
                <c:pt idx="436">
                  <c:v>18</c:v>
                </c:pt>
                <c:pt idx="437">
                  <c:v>17</c:v>
                </c:pt>
                <c:pt idx="438">
                  <c:v>13</c:v>
                </c:pt>
                <c:pt idx="439">
                  <c:v>14</c:v>
                </c:pt>
                <c:pt idx="440">
                  <c:v>43</c:v>
                </c:pt>
                <c:pt idx="441">
                  <c:v>32</c:v>
                </c:pt>
                <c:pt idx="442">
                  <c:v>23</c:v>
                </c:pt>
                <c:pt idx="443">
                  <c:v>55</c:v>
                </c:pt>
                <c:pt idx="444">
                  <c:v>85</c:v>
                </c:pt>
                <c:pt idx="445">
                  <c:v>26</c:v>
                </c:pt>
                <c:pt idx="446">
                  <c:v>9</c:v>
                </c:pt>
                <c:pt idx="447">
                  <c:v>48</c:v>
                </c:pt>
                <c:pt idx="448">
                  <c:v>23</c:v>
                </c:pt>
                <c:pt idx="449">
                  <c:v>42</c:v>
                </c:pt>
                <c:pt idx="450">
                  <c:v>29</c:v>
                </c:pt>
                <c:pt idx="451">
                  <c:v>52</c:v>
                </c:pt>
                <c:pt idx="452">
                  <c:v>5</c:v>
                </c:pt>
                <c:pt idx="453">
                  <c:v>7</c:v>
                </c:pt>
                <c:pt idx="454">
                  <c:v>42</c:v>
                </c:pt>
                <c:pt idx="455">
                  <c:v>14</c:v>
                </c:pt>
                <c:pt idx="456">
                  <c:v>30</c:v>
                </c:pt>
                <c:pt idx="457">
                  <c:v>31</c:v>
                </c:pt>
                <c:pt idx="458">
                  <c:v>13</c:v>
                </c:pt>
                <c:pt idx="459">
                  <c:v>38</c:v>
                </c:pt>
                <c:pt idx="460">
                  <c:v>7</c:v>
                </c:pt>
                <c:pt idx="461">
                  <c:v>29</c:v>
                </c:pt>
                <c:pt idx="462">
                  <c:v>22</c:v>
                </c:pt>
                <c:pt idx="463">
                  <c:v>18</c:v>
                </c:pt>
                <c:pt idx="464">
                  <c:v>31</c:v>
                </c:pt>
                <c:pt idx="465">
                  <c:v>28</c:v>
                </c:pt>
                <c:pt idx="466">
                  <c:v>6</c:v>
                </c:pt>
                <c:pt idx="467">
                  <c:v>0</c:v>
                </c:pt>
                <c:pt idx="468">
                  <c:v>16</c:v>
                </c:pt>
                <c:pt idx="469">
                  <c:v>27</c:v>
                </c:pt>
                <c:pt idx="470">
                  <c:v>15</c:v>
                </c:pt>
                <c:pt idx="471">
                  <c:v>7</c:v>
                </c:pt>
                <c:pt idx="472">
                  <c:v>12</c:v>
                </c:pt>
                <c:pt idx="473">
                  <c:v>2</c:v>
                </c:pt>
                <c:pt idx="474">
                  <c:v>3</c:v>
                </c:pt>
                <c:pt idx="475">
                  <c:v>14</c:v>
                </c:pt>
                <c:pt idx="476">
                  <c:v>8</c:v>
                </c:pt>
                <c:pt idx="477">
                  <c:v>3</c:v>
                </c:pt>
                <c:pt idx="478">
                  <c:v>5</c:v>
                </c:pt>
                <c:pt idx="479">
                  <c:v>0</c:v>
                </c:pt>
                <c:pt idx="480">
                  <c:v>5</c:v>
                </c:pt>
                <c:pt idx="481">
                  <c:v>0</c:v>
                </c:pt>
                <c:pt idx="482">
                  <c:v>10</c:v>
                </c:pt>
                <c:pt idx="483">
                  <c:v>6</c:v>
                </c:pt>
                <c:pt idx="484">
                  <c:v>5</c:v>
                </c:pt>
                <c:pt idx="485">
                  <c:v>2</c:v>
                </c:pt>
                <c:pt idx="486">
                  <c:v>10</c:v>
                </c:pt>
                <c:pt idx="487">
                  <c:v>2</c:v>
                </c:pt>
                <c:pt idx="488">
                  <c:v>0</c:v>
                </c:pt>
                <c:pt idx="489">
                  <c:v>4</c:v>
                </c:pt>
                <c:pt idx="490">
                  <c:v>5</c:v>
                </c:pt>
                <c:pt idx="491">
                  <c:v>6</c:v>
                </c:pt>
                <c:pt idx="492">
                  <c:v>6</c:v>
                </c:pt>
                <c:pt idx="493">
                  <c:v>6</c:v>
                </c:pt>
                <c:pt idx="494">
                  <c:v>1</c:v>
                </c:pt>
                <c:pt idx="495">
                  <c:v>2</c:v>
                </c:pt>
                <c:pt idx="496">
                  <c:v>1</c:v>
                </c:pt>
                <c:pt idx="497">
                  <c:v>8</c:v>
                </c:pt>
                <c:pt idx="498">
                  <c:v>3</c:v>
                </c:pt>
                <c:pt idx="499">
                  <c:v>4</c:v>
                </c:pt>
                <c:pt idx="500">
                  <c:v>8</c:v>
                </c:pt>
                <c:pt idx="501">
                  <c:v>0</c:v>
                </c:pt>
                <c:pt idx="502">
                  <c:v>3</c:v>
                </c:pt>
                <c:pt idx="503">
                  <c:v>14</c:v>
                </c:pt>
                <c:pt idx="504">
                  <c:v>8</c:v>
                </c:pt>
                <c:pt idx="505">
                  <c:v>7</c:v>
                </c:pt>
                <c:pt idx="506">
                  <c:v>20</c:v>
                </c:pt>
                <c:pt idx="507">
                  <c:v>18</c:v>
                </c:pt>
                <c:pt idx="508">
                  <c:v>17</c:v>
                </c:pt>
                <c:pt idx="509">
                  <c:v>7</c:v>
                </c:pt>
                <c:pt idx="510">
                  <c:v>19</c:v>
                </c:pt>
                <c:pt idx="511">
                  <c:v>48</c:v>
                </c:pt>
                <c:pt idx="512">
                  <c:v>53</c:v>
                </c:pt>
                <c:pt idx="513">
                  <c:v>20</c:v>
                </c:pt>
                <c:pt idx="514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16</c:f>
              <c:numCache>
                <c:formatCode>m/d/yyyy</c:formatCode>
                <c:ptCount val="5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</c:numCache>
            </c:numRef>
          </c:cat>
          <c:val>
            <c:numRef>
              <c:f>Sheet1!$B$2:$B$516</c:f>
              <c:numCache>
                <c:formatCode>#\ ##0_ ;\-#\ ##0\ </c:formatCode>
                <c:ptCount val="51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5</c:v>
                </c:pt>
                <c:pt idx="21">
                  <c:v>5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4</c:v>
                </c:pt>
                <c:pt idx="28">
                  <c:v>25</c:v>
                </c:pt>
                <c:pt idx="29">
                  <c:v>10</c:v>
                </c:pt>
                <c:pt idx="30">
                  <c:v>30</c:v>
                </c:pt>
                <c:pt idx="31">
                  <c:v>95</c:v>
                </c:pt>
                <c:pt idx="32">
                  <c:v>31</c:v>
                </c:pt>
                <c:pt idx="33">
                  <c:v>30</c:v>
                </c:pt>
                <c:pt idx="34">
                  <c:v>91</c:v>
                </c:pt>
                <c:pt idx="35">
                  <c:v>47</c:v>
                </c:pt>
                <c:pt idx="36">
                  <c:v>43</c:v>
                </c:pt>
                <c:pt idx="37">
                  <c:v>85</c:v>
                </c:pt>
                <c:pt idx="38">
                  <c:v>87</c:v>
                </c:pt>
                <c:pt idx="39">
                  <c:v>51</c:v>
                </c:pt>
                <c:pt idx="40">
                  <c:v>25</c:v>
                </c:pt>
                <c:pt idx="41">
                  <c:v>164</c:v>
                </c:pt>
                <c:pt idx="42">
                  <c:v>158</c:v>
                </c:pt>
                <c:pt idx="43">
                  <c:v>194</c:v>
                </c:pt>
                <c:pt idx="44">
                  <c:v>202</c:v>
                </c:pt>
                <c:pt idx="45">
                  <c:v>213</c:v>
                </c:pt>
                <c:pt idx="46">
                  <c:v>107</c:v>
                </c:pt>
                <c:pt idx="47">
                  <c:v>48</c:v>
                </c:pt>
                <c:pt idx="48">
                  <c:v>194</c:v>
                </c:pt>
                <c:pt idx="49">
                  <c:v>195</c:v>
                </c:pt>
                <c:pt idx="50">
                  <c:v>265</c:v>
                </c:pt>
                <c:pt idx="51">
                  <c:v>236</c:v>
                </c:pt>
                <c:pt idx="52">
                  <c:v>336</c:v>
                </c:pt>
                <c:pt idx="53">
                  <c:v>187</c:v>
                </c:pt>
                <c:pt idx="54">
                  <c:v>90</c:v>
                </c:pt>
                <c:pt idx="55">
                  <c:v>379</c:v>
                </c:pt>
                <c:pt idx="56">
                  <c:v>404</c:v>
                </c:pt>
                <c:pt idx="57">
                  <c:v>135</c:v>
                </c:pt>
                <c:pt idx="58">
                  <c:v>472</c:v>
                </c:pt>
                <c:pt idx="59">
                  <c:v>335</c:v>
                </c:pt>
                <c:pt idx="60">
                  <c:v>185</c:v>
                </c:pt>
                <c:pt idx="61">
                  <c:v>117</c:v>
                </c:pt>
                <c:pt idx="62">
                  <c:v>303</c:v>
                </c:pt>
                <c:pt idx="63">
                  <c:v>234</c:v>
                </c:pt>
                <c:pt idx="64">
                  <c:v>334</c:v>
                </c:pt>
                <c:pt idx="65">
                  <c:v>284</c:v>
                </c:pt>
                <c:pt idx="66">
                  <c:v>242</c:v>
                </c:pt>
                <c:pt idx="67">
                  <c:v>118</c:v>
                </c:pt>
                <c:pt idx="68">
                  <c:v>51</c:v>
                </c:pt>
                <c:pt idx="69">
                  <c:v>201</c:v>
                </c:pt>
                <c:pt idx="70">
                  <c:v>205</c:v>
                </c:pt>
                <c:pt idx="71">
                  <c:v>264</c:v>
                </c:pt>
                <c:pt idx="72">
                  <c:v>236</c:v>
                </c:pt>
                <c:pt idx="73">
                  <c:v>204</c:v>
                </c:pt>
                <c:pt idx="74">
                  <c:v>75</c:v>
                </c:pt>
                <c:pt idx="75">
                  <c:v>30</c:v>
                </c:pt>
                <c:pt idx="76">
                  <c:v>188</c:v>
                </c:pt>
                <c:pt idx="77">
                  <c:v>47</c:v>
                </c:pt>
                <c:pt idx="78">
                  <c:v>163</c:v>
                </c:pt>
                <c:pt idx="79">
                  <c:v>131</c:v>
                </c:pt>
                <c:pt idx="80">
                  <c:v>121</c:v>
                </c:pt>
                <c:pt idx="81">
                  <c:v>38</c:v>
                </c:pt>
                <c:pt idx="82">
                  <c:v>17</c:v>
                </c:pt>
                <c:pt idx="83">
                  <c:v>140</c:v>
                </c:pt>
                <c:pt idx="84">
                  <c:v>108</c:v>
                </c:pt>
                <c:pt idx="85">
                  <c:v>94</c:v>
                </c:pt>
                <c:pt idx="86">
                  <c:v>57</c:v>
                </c:pt>
                <c:pt idx="87">
                  <c:v>82</c:v>
                </c:pt>
                <c:pt idx="88">
                  <c:v>23</c:v>
                </c:pt>
                <c:pt idx="89">
                  <c:v>16</c:v>
                </c:pt>
                <c:pt idx="90">
                  <c:v>106</c:v>
                </c:pt>
                <c:pt idx="91">
                  <c:v>88</c:v>
                </c:pt>
                <c:pt idx="92">
                  <c:v>66</c:v>
                </c:pt>
                <c:pt idx="93">
                  <c:v>60</c:v>
                </c:pt>
                <c:pt idx="94">
                  <c:v>91</c:v>
                </c:pt>
                <c:pt idx="95">
                  <c:v>40</c:v>
                </c:pt>
                <c:pt idx="96">
                  <c:v>26</c:v>
                </c:pt>
                <c:pt idx="97">
                  <c:v>121</c:v>
                </c:pt>
                <c:pt idx="98">
                  <c:v>76</c:v>
                </c:pt>
                <c:pt idx="99">
                  <c:v>63</c:v>
                </c:pt>
                <c:pt idx="100">
                  <c:v>59</c:v>
                </c:pt>
                <c:pt idx="101">
                  <c:v>78</c:v>
                </c:pt>
                <c:pt idx="102">
                  <c:v>21</c:v>
                </c:pt>
                <c:pt idx="103">
                  <c:v>17</c:v>
                </c:pt>
                <c:pt idx="104">
                  <c:v>132</c:v>
                </c:pt>
                <c:pt idx="105">
                  <c:v>71</c:v>
                </c:pt>
                <c:pt idx="106">
                  <c:v>96</c:v>
                </c:pt>
                <c:pt idx="107">
                  <c:v>52</c:v>
                </c:pt>
                <c:pt idx="108">
                  <c:v>84</c:v>
                </c:pt>
                <c:pt idx="109">
                  <c:v>29</c:v>
                </c:pt>
                <c:pt idx="110">
                  <c:v>28</c:v>
                </c:pt>
                <c:pt idx="111">
                  <c:v>161</c:v>
                </c:pt>
                <c:pt idx="112">
                  <c:v>112</c:v>
                </c:pt>
                <c:pt idx="113">
                  <c:v>119</c:v>
                </c:pt>
                <c:pt idx="114">
                  <c:v>28</c:v>
                </c:pt>
                <c:pt idx="115">
                  <c:v>45</c:v>
                </c:pt>
                <c:pt idx="116">
                  <c:v>52</c:v>
                </c:pt>
                <c:pt idx="117">
                  <c:v>47</c:v>
                </c:pt>
                <c:pt idx="118">
                  <c:v>195</c:v>
                </c:pt>
                <c:pt idx="119">
                  <c:v>147</c:v>
                </c:pt>
                <c:pt idx="120">
                  <c:v>113</c:v>
                </c:pt>
                <c:pt idx="121">
                  <c:v>88</c:v>
                </c:pt>
                <c:pt idx="122">
                  <c:v>29</c:v>
                </c:pt>
                <c:pt idx="123">
                  <c:v>62</c:v>
                </c:pt>
                <c:pt idx="124">
                  <c:v>35</c:v>
                </c:pt>
                <c:pt idx="125">
                  <c:v>278</c:v>
                </c:pt>
                <c:pt idx="126">
                  <c:v>147</c:v>
                </c:pt>
                <c:pt idx="127">
                  <c:v>114</c:v>
                </c:pt>
                <c:pt idx="128">
                  <c:v>102</c:v>
                </c:pt>
                <c:pt idx="129">
                  <c:v>122</c:v>
                </c:pt>
                <c:pt idx="130">
                  <c:v>50</c:v>
                </c:pt>
                <c:pt idx="131">
                  <c:v>27</c:v>
                </c:pt>
                <c:pt idx="132">
                  <c:v>234</c:v>
                </c:pt>
                <c:pt idx="133">
                  <c:v>97</c:v>
                </c:pt>
                <c:pt idx="134">
                  <c:v>110</c:v>
                </c:pt>
                <c:pt idx="135">
                  <c:v>54</c:v>
                </c:pt>
                <c:pt idx="136">
                  <c:v>65</c:v>
                </c:pt>
                <c:pt idx="137">
                  <c:v>33</c:v>
                </c:pt>
                <c:pt idx="138">
                  <c:v>26</c:v>
                </c:pt>
                <c:pt idx="139">
                  <c:v>127</c:v>
                </c:pt>
                <c:pt idx="140">
                  <c:v>76</c:v>
                </c:pt>
                <c:pt idx="141">
                  <c:v>71</c:v>
                </c:pt>
                <c:pt idx="142">
                  <c:v>61</c:v>
                </c:pt>
                <c:pt idx="143">
                  <c:v>80</c:v>
                </c:pt>
                <c:pt idx="144">
                  <c:v>27</c:v>
                </c:pt>
                <c:pt idx="145">
                  <c:v>12</c:v>
                </c:pt>
                <c:pt idx="146">
                  <c:v>89</c:v>
                </c:pt>
                <c:pt idx="147">
                  <c:v>76</c:v>
                </c:pt>
                <c:pt idx="148">
                  <c:v>60</c:v>
                </c:pt>
                <c:pt idx="149">
                  <c:v>33</c:v>
                </c:pt>
                <c:pt idx="150">
                  <c:v>47</c:v>
                </c:pt>
                <c:pt idx="151">
                  <c:v>30</c:v>
                </c:pt>
                <c:pt idx="152">
                  <c:v>10</c:v>
                </c:pt>
                <c:pt idx="153">
                  <c:v>80</c:v>
                </c:pt>
                <c:pt idx="154">
                  <c:v>70</c:v>
                </c:pt>
                <c:pt idx="155">
                  <c:v>59</c:v>
                </c:pt>
                <c:pt idx="156">
                  <c:v>44</c:v>
                </c:pt>
                <c:pt idx="157">
                  <c:v>49</c:v>
                </c:pt>
                <c:pt idx="158">
                  <c:v>11</c:v>
                </c:pt>
                <c:pt idx="159">
                  <c:v>18</c:v>
                </c:pt>
                <c:pt idx="160">
                  <c:v>73</c:v>
                </c:pt>
                <c:pt idx="161">
                  <c:v>21</c:v>
                </c:pt>
                <c:pt idx="162">
                  <c:v>34</c:v>
                </c:pt>
                <c:pt idx="163">
                  <c:v>40</c:v>
                </c:pt>
                <c:pt idx="164">
                  <c:v>40</c:v>
                </c:pt>
                <c:pt idx="165">
                  <c:v>15</c:v>
                </c:pt>
                <c:pt idx="166">
                  <c:v>11</c:v>
                </c:pt>
                <c:pt idx="167">
                  <c:v>63</c:v>
                </c:pt>
                <c:pt idx="168">
                  <c:v>33</c:v>
                </c:pt>
                <c:pt idx="169">
                  <c:v>36</c:v>
                </c:pt>
                <c:pt idx="170">
                  <c:v>31</c:v>
                </c:pt>
                <c:pt idx="171">
                  <c:v>36</c:v>
                </c:pt>
                <c:pt idx="172">
                  <c:v>6</c:v>
                </c:pt>
                <c:pt idx="173">
                  <c:v>18</c:v>
                </c:pt>
                <c:pt idx="174">
                  <c:v>76</c:v>
                </c:pt>
                <c:pt idx="175">
                  <c:v>45</c:v>
                </c:pt>
                <c:pt idx="176">
                  <c:v>34</c:v>
                </c:pt>
                <c:pt idx="177">
                  <c:v>33</c:v>
                </c:pt>
                <c:pt idx="178">
                  <c:v>39</c:v>
                </c:pt>
                <c:pt idx="179">
                  <c:v>10</c:v>
                </c:pt>
                <c:pt idx="180">
                  <c:v>9</c:v>
                </c:pt>
                <c:pt idx="181">
                  <c:v>59</c:v>
                </c:pt>
                <c:pt idx="182">
                  <c:v>40</c:v>
                </c:pt>
                <c:pt idx="183">
                  <c:v>57</c:v>
                </c:pt>
                <c:pt idx="184">
                  <c:v>41</c:v>
                </c:pt>
                <c:pt idx="185">
                  <c:v>31</c:v>
                </c:pt>
                <c:pt idx="186">
                  <c:v>14</c:v>
                </c:pt>
                <c:pt idx="187">
                  <c:v>10</c:v>
                </c:pt>
                <c:pt idx="188">
                  <c:v>63</c:v>
                </c:pt>
                <c:pt idx="189">
                  <c:v>37</c:v>
                </c:pt>
                <c:pt idx="190">
                  <c:v>30</c:v>
                </c:pt>
                <c:pt idx="191">
                  <c:v>26</c:v>
                </c:pt>
                <c:pt idx="192">
                  <c:v>19</c:v>
                </c:pt>
                <c:pt idx="193">
                  <c:v>12</c:v>
                </c:pt>
                <c:pt idx="194">
                  <c:v>7</c:v>
                </c:pt>
                <c:pt idx="195">
                  <c:v>39</c:v>
                </c:pt>
                <c:pt idx="196">
                  <c:v>25</c:v>
                </c:pt>
                <c:pt idx="197">
                  <c:v>25</c:v>
                </c:pt>
                <c:pt idx="198">
                  <c:v>16</c:v>
                </c:pt>
                <c:pt idx="199">
                  <c:v>21</c:v>
                </c:pt>
                <c:pt idx="200">
                  <c:v>2</c:v>
                </c:pt>
                <c:pt idx="201">
                  <c:v>4</c:v>
                </c:pt>
                <c:pt idx="202">
                  <c:v>34</c:v>
                </c:pt>
                <c:pt idx="203">
                  <c:v>18</c:v>
                </c:pt>
                <c:pt idx="204">
                  <c:v>10</c:v>
                </c:pt>
                <c:pt idx="205">
                  <c:v>8</c:v>
                </c:pt>
                <c:pt idx="206">
                  <c:v>16</c:v>
                </c:pt>
                <c:pt idx="207">
                  <c:v>3</c:v>
                </c:pt>
                <c:pt idx="208">
                  <c:v>1</c:v>
                </c:pt>
                <c:pt idx="209">
                  <c:v>19</c:v>
                </c:pt>
                <c:pt idx="210">
                  <c:v>16</c:v>
                </c:pt>
                <c:pt idx="211">
                  <c:v>13</c:v>
                </c:pt>
                <c:pt idx="212">
                  <c:v>12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5</c:v>
                </c:pt>
                <c:pt idx="217">
                  <c:v>22</c:v>
                </c:pt>
                <c:pt idx="218">
                  <c:v>17</c:v>
                </c:pt>
                <c:pt idx="219">
                  <c:v>16</c:v>
                </c:pt>
                <c:pt idx="220">
                  <c:v>8</c:v>
                </c:pt>
                <c:pt idx="221">
                  <c:v>5</c:v>
                </c:pt>
                <c:pt idx="222">
                  <c:v>1</c:v>
                </c:pt>
                <c:pt idx="223">
                  <c:v>8</c:v>
                </c:pt>
                <c:pt idx="224">
                  <c:v>6</c:v>
                </c:pt>
                <c:pt idx="225">
                  <c:v>5</c:v>
                </c:pt>
                <c:pt idx="226">
                  <c:v>6</c:v>
                </c:pt>
                <c:pt idx="227">
                  <c:v>6</c:v>
                </c:pt>
                <c:pt idx="228">
                  <c:v>1</c:v>
                </c:pt>
                <c:pt idx="229">
                  <c:v>1</c:v>
                </c:pt>
                <c:pt idx="230">
                  <c:v>10</c:v>
                </c:pt>
                <c:pt idx="231">
                  <c:v>4</c:v>
                </c:pt>
                <c:pt idx="232">
                  <c:v>4</c:v>
                </c:pt>
                <c:pt idx="233">
                  <c:v>4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8</c:v>
                </c:pt>
                <c:pt idx="238">
                  <c:v>8</c:v>
                </c:pt>
                <c:pt idx="239">
                  <c:v>2</c:v>
                </c:pt>
                <c:pt idx="240">
                  <c:v>2</c:v>
                </c:pt>
                <c:pt idx="241">
                  <c:v>5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1</c:v>
                </c:pt>
                <c:pt idx="250">
                  <c:v>0</c:v>
                </c:pt>
                <c:pt idx="251">
                  <c:v>2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5</c:v>
                </c:pt>
                <c:pt idx="259">
                  <c:v>5</c:v>
                </c:pt>
                <c:pt idx="260">
                  <c:v>2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4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4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5</c:v>
                </c:pt>
                <c:pt idx="392">
                  <c:v>2</c:v>
                </c:pt>
                <c:pt idx="393">
                  <c:v>7</c:v>
                </c:pt>
                <c:pt idx="394">
                  <c:v>3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3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6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8</c:v>
                </c:pt>
                <c:pt idx="414">
                  <c:v>11</c:v>
                </c:pt>
                <c:pt idx="415">
                  <c:v>7</c:v>
                </c:pt>
                <c:pt idx="416">
                  <c:v>10</c:v>
                </c:pt>
                <c:pt idx="417">
                  <c:v>0</c:v>
                </c:pt>
                <c:pt idx="418">
                  <c:v>4</c:v>
                </c:pt>
                <c:pt idx="419">
                  <c:v>19</c:v>
                </c:pt>
                <c:pt idx="420">
                  <c:v>5</c:v>
                </c:pt>
                <c:pt idx="421">
                  <c:v>17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1</c:v>
                </c:pt>
                <c:pt idx="427">
                  <c:v>25</c:v>
                </c:pt>
                <c:pt idx="428">
                  <c:v>19</c:v>
                </c:pt>
                <c:pt idx="429">
                  <c:v>25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2</c:v>
                </c:pt>
                <c:pt idx="434">
                  <c:v>26</c:v>
                </c:pt>
                <c:pt idx="435">
                  <c:v>29</c:v>
                </c:pt>
                <c:pt idx="436">
                  <c:v>36</c:v>
                </c:pt>
                <c:pt idx="437">
                  <c:v>34</c:v>
                </c:pt>
                <c:pt idx="438">
                  <c:v>20</c:v>
                </c:pt>
                <c:pt idx="439">
                  <c:v>14</c:v>
                </c:pt>
                <c:pt idx="440">
                  <c:v>56</c:v>
                </c:pt>
                <c:pt idx="441">
                  <c:v>34</c:v>
                </c:pt>
                <c:pt idx="442">
                  <c:v>14</c:v>
                </c:pt>
                <c:pt idx="443">
                  <c:v>42</c:v>
                </c:pt>
                <c:pt idx="444">
                  <c:v>52</c:v>
                </c:pt>
                <c:pt idx="445">
                  <c:v>11</c:v>
                </c:pt>
                <c:pt idx="446">
                  <c:v>7</c:v>
                </c:pt>
                <c:pt idx="447">
                  <c:v>70</c:v>
                </c:pt>
                <c:pt idx="448">
                  <c:v>44</c:v>
                </c:pt>
                <c:pt idx="449">
                  <c:v>46</c:v>
                </c:pt>
                <c:pt idx="450">
                  <c:v>49</c:v>
                </c:pt>
                <c:pt idx="451">
                  <c:v>48</c:v>
                </c:pt>
                <c:pt idx="452">
                  <c:v>22</c:v>
                </c:pt>
                <c:pt idx="453">
                  <c:v>8</c:v>
                </c:pt>
                <c:pt idx="454">
                  <c:v>43</c:v>
                </c:pt>
                <c:pt idx="455">
                  <c:v>48</c:v>
                </c:pt>
                <c:pt idx="456">
                  <c:v>41</c:v>
                </c:pt>
                <c:pt idx="457">
                  <c:v>32</c:v>
                </c:pt>
                <c:pt idx="458">
                  <c:v>29</c:v>
                </c:pt>
                <c:pt idx="459">
                  <c:v>21</c:v>
                </c:pt>
                <c:pt idx="460">
                  <c:v>9</c:v>
                </c:pt>
                <c:pt idx="461">
                  <c:v>48</c:v>
                </c:pt>
                <c:pt idx="462">
                  <c:v>35</c:v>
                </c:pt>
                <c:pt idx="463">
                  <c:v>34</c:v>
                </c:pt>
                <c:pt idx="464">
                  <c:v>25</c:v>
                </c:pt>
                <c:pt idx="465">
                  <c:v>19</c:v>
                </c:pt>
                <c:pt idx="466">
                  <c:v>13</c:v>
                </c:pt>
                <c:pt idx="467">
                  <c:v>8</c:v>
                </c:pt>
                <c:pt idx="468">
                  <c:v>30</c:v>
                </c:pt>
                <c:pt idx="469">
                  <c:v>36</c:v>
                </c:pt>
                <c:pt idx="470">
                  <c:v>28</c:v>
                </c:pt>
                <c:pt idx="471">
                  <c:v>17</c:v>
                </c:pt>
                <c:pt idx="472">
                  <c:v>14</c:v>
                </c:pt>
                <c:pt idx="473">
                  <c:v>8</c:v>
                </c:pt>
                <c:pt idx="474">
                  <c:v>10</c:v>
                </c:pt>
                <c:pt idx="475">
                  <c:v>25</c:v>
                </c:pt>
                <c:pt idx="476">
                  <c:v>12</c:v>
                </c:pt>
                <c:pt idx="477">
                  <c:v>8</c:v>
                </c:pt>
                <c:pt idx="478">
                  <c:v>4</c:v>
                </c:pt>
                <c:pt idx="479">
                  <c:v>7</c:v>
                </c:pt>
                <c:pt idx="480">
                  <c:v>3</c:v>
                </c:pt>
                <c:pt idx="481">
                  <c:v>5</c:v>
                </c:pt>
                <c:pt idx="482">
                  <c:v>10</c:v>
                </c:pt>
                <c:pt idx="483">
                  <c:v>17</c:v>
                </c:pt>
                <c:pt idx="484">
                  <c:v>8</c:v>
                </c:pt>
                <c:pt idx="485">
                  <c:v>9</c:v>
                </c:pt>
                <c:pt idx="486">
                  <c:v>6</c:v>
                </c:pt>
                <c:pt idx="487">
                  <c:v>0</c:v>
                </c:pt>
                <c:pt idx="488">
                  <c:v>3</c:v>
                </c:pt>
                <c:pt idx="489">
                  <c:v>19</c:v>
                </c:pt>
                <c:pt idx="490">
                  <c:v>14</c:v>
                </c:pt>
                <c:pt idx="491">
                  <c:v>5</c:v>
                </c:pt>
                <c:pt idx="492">
                  <c:v>9</c:v>
                </c:pt>
                <c:pt idx="493">
                  <c:v>11</c:v>
                </c:pt>
                <c:pt idx="494">
                  <c:v>3</c:v>
                </c:pt>
                <c:pt idx="495">
                  <c:v>3</c:v>
                </c:pt>
                <c:pt idx="496">
                  <c:v>18</c:v>
                </c:pt>
                <c:pt idx="497">
                  <c:v>11</c:v>
                </c:pt>
                <c:pt idx="498">
                  <c:v>8</c:v>
                </c:pt>
                <c:pt idx="499">
                  <c:v>13</c:v>
                </c:pt>
                <c:pt idx="500">
                  <c:v>11</c:v>
                </c:pt>
                <c:pt idx="501">
                  <c:v>6</c:v>
                </c:pt>
                <c:pt idx="502">
                  <c:v>10</c:v>
                </c:pt>
                <c:pt idx="503">
                  <c:v>44</c:v>
                </c:pt>
                <c:pt idx="504">
                  <c:v>25</c:v>
                </c:pt>
                <c:pt idx="505">
                  <c:v>35</c:v>
                </c:pt>
                <c:pt idx="506">
                  <c:v>56</c:v>
                </c:pt>
                <c:pt idx="507">
                  <c:v>56</c:v>
                </c:pt>
                <c:pt idx="508">
                  <c:v>24</c:v>
                </c:pt>
                <c:pt idx="509">
                  <c:v>23</c:v>
                </c:pt>
                <c:pt idx="510">
                  <c:v>61</c:v>
                </c:pt>
                <c:pt idx="511">
                  <c:v>100</c:v>
                </c:pt>
                <c:pt idx="512">
                  <c:v>107</c:v>
                </c:pt>
                <c:pt idx="513">
                  <c:v>80</c:v>
                </c:pt>
                <c:pt idx="514">
                  <c:v>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16</c:f>
              <c:numCache>
                <c:formatCode>m/d/yyyy</c:formatCode>
                <c:ptCount val="5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</c:numCache>
            </c:numRef>
          </c:cat>
          <c:val>
            <c:numRef>
              <c:f>Sheet1!$B$2:$B$516</c:f>
              <c:numCache>
                <c:formatCode>#\ ##0_ ;\-#\ ##0\ </c:formatCode>
                <c:ptCount val="515"/>
                <c:pt idx="0">
                  <c:v>7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5</c:v>
                </c:pt>
                <c:pt idx="12">
                  <c:v>1</c:v>
                </c:pt>
                <c:pt idx="13">
                  <c:v>4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2</c:v>
                </c:pt>
                <c:pt idx="19">
                  <c:v>7</c:v>
                </c:pt>
                <c:pt idx="20">
                  <c:v>6</c:v>
                </c:pt>
                <c:pt idx="21">
                  <c:v>5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7</c:v>
                </c:pt>
                <c:pt idx="27">
                  <c:v>7</c:v>
                </c:pt>
                <c:pt idx="28">
                  <c:v>30</c:v>
                </c:pt>
                <c:pt idx="29">
                  <c:v>38</c:v>
                </c:pt>
                <c:pt idx="30">
                  <c:v>61</c:v>
                </c:pt>
                <c:pt idx="31">
                  <c:v>157</c:v>
                </c:pt>
                <c:pt idx="32">
                  <c:v>67</c:v>
                </c:pt>
                <c:pt idx="33">
                  <c:v>84</c:v>
                </c:pt>
                <c:pt idx="34">
                  <c:v>258</c:v>
                </c:pt>
                <c:pt idx="35">
                  <c:v>129</c:v>
                </c:pt>
                <c:pt idx="36">
                  <c:v>88</c:v>
                </c:pt>
                <c:pt idx="37">
                  <c:v>163</c:v>
                </c:pt>
                <c:pt idx="38">
                  <c:v>226</c:v>
                </c:pt>
                <c:pt idx="39">
                  <c:v>81</c:v>
                </c:pt>
                <c:pt idx="40">
                  <c:v>38</c:v>
                </c:pt>
                <c:pt idx="41">
                  <c:v>302</c:v>
                </c:pt>
                <c:pt idx="42">
                  <c:v>382</c:v>
                </c:pt>
                <c:pt idx="43">
                  <c:v>375</c:v>
                </c:pt>
                <c:pt idx="44">
                  <c:v>397</c:v>
                </c:pt>
                <c:pt idx="45">
                  <c:v>418</c:v>
                </c:pt>
                <c:pt idx="46">
                  <c:v>262</c:v>
                </c:pt>
                <c:pt idx="47">
                  <c:v>89</c:v>
                </c:pt>
                <c:pt idx="48">
                  <c:v>436</c:v>
                </c:pt>
                <c:pt idx="49">
                  <c:v>395</c:v>
                </c:pt>
                <c:pt idx="50">
                  <c:v>591</c:v>
                </c:pt>
                <c:pt idx="51">
                  <c:v>464</c:v>
                </c:pt>
                <c:pt idx="52">
                  <c:v>754</c:v>
                </c:pt>
                <c:pt idx="53">
                  <c:v>414</c:v>
                </c:pt>
                <c:pt idx="54">
                  <c:v>285</c:v>
                </c:pt>
                <c:pt idx="55">
                  <c:v>766</c:v>
                </c:pt>
                <c:pt idx="56">
                  <c:v>927</c:v>
                </c:pt>
                <c:pt idx="57">
                  <c:v>396</c:v>
                </c:pt>
                <c:pt idx="58">
                  <c:v>1012</c:v>
                </c:pt>
                <c:pt idx="59">
                  <c:v>923</c:v>
                </c:pt>
                <c:pt idx="60">
                  <c:v>522</c:v>
                </c:pt>
                <c:pt idx="61">
                  <c:v>330</c:v>
                </c:pt>
                <c:pt idx="62">
                  <c:v>635</c:v>
                </c:pt>
                <c:pt idx="63">
                  <c:v>566</c:v>
                </c:pt>
                <c:pt idx="64">
                  <c:v>758</c:v>
                </c:pt>
                <c:pt idx="65">
                  <c:v>818</c:v>
                </c:pt>
                <c:pt idx="66">
                  <c:v>732</c:v>
                </c:pt>
                <c:pt idx="67">
                  <c:v>333</c:v>
                </c:pt>
                <c:pt idx="68">
                  <c:v>129</c:v>
                </c:pt>
                <c:pt idx="69">
                  <c:v>406</c:v>
                </c:pt>
                <c:pt idx="70">
                  <c:v>590</c:v>
                </c:pt>
                <c:pt idx="71">
                  <c:v>941</c:v>
                </c:pt>
                <c:pt idx="72">
                  <c:v>735</c:v>
                </c:pt>
                <c:pt idx="73">
                  <c:v>687</c:v>
                </c:pt>
                <c:pt idx="74">
                  <c:v>255</c:v>
                </c:pt>
                <c:pt idx="75">
                  <c:v>196</c:v>
                </c:pt>
                <c:pt idx="76">
                  <c:v>573</c:v>
                </c:pt>
                <c:pt idx="77">
                  <c:v>186</c:v>
                </c:pt>
                <c:pt idx="78">
                  <c:v>431</c:v>
                </c:pt>
                <c:pt idx="79">
                  <c:v>400</c:v>
                </c:pt>
                <c:pt idx="80">
                  <c:v>361</c:v>
                </c:pt>
                <c:pt idx="81">
                  <c:v>132</c:v>
                </c:pt>
                <c:pt idx="82">
                  <c:v>108</c:v>
                </c:pt>
                <c:pt idx="83">
                  <c:v>520</c:v>
                </c:pt>
                <c:pt idx="84">
                  <c:v>307</c:v>
                </c:pt>
                <c:pt idx="85">
                  <c:v>220</c:v>
                </c:pt>
                <c:pt idx="86">
                  <c:v>252</c:v>
                </c:pt>
                <c:pt idx="87">
                  <c:v>221</c:v>
                </c:pt>
                <c:pt idx="88">
                  <c:v>101</c:v>
                </c:pt>
                <c:pt idx="89">
                  <c:v>44</c:v>
                </c:pt>
                <c:pt idx="90">
                  <c:v>319</c:v>
                </c:pt>
                <c:pt idx="91">
                  <c:v>212</c:v>
                </c:pt>
                <c:pt idx="92">
                  <c:v>199</c:v>
                </c:pt>
                <c:pt idx="93">
                  <c:v>189</c:v>
                </c:pt>
                <c:pt idx="94">
                  <c:v>234</c:v>
                </c:pt>
                <c:pt idx="95">
                  <c:v>129</c:v>
                </c:pt>
                <c:pt idx="96">
                  <c:v>46</c:v>
                </c:pt>
                <c:pt idx="97">
                  <c:v>263</c:v>
                </c:pt>
                <c:pt idx="98">
                  <c:v>165</c:v>
                </c:pt>
                <c:pt idx="99">
                  <c:v>204</c:v>
                </c:pt>
                <c:pt idx="100">
                  <c:v>142</c:v>
                </c:pt>
                <c:pt idx="101">
                  <c:v>308</c:v>
                </c:pt>
                <c:pt idx="102">
                  <c:v>88</c:v>
                </c:pt>
                <c:pt idx="103">
                  <c:v>67</c:v>
                </c:pt>
                <c:pt idx="104">
                  <c:v>280</c:v>
                </c:pt>
                <c:pt idx="105">
                  <c:v>204</c:v>
                </c:pt>
                <c:pt idx="106">
                  <c:v>196</c:v>
                </c:pt>
                <c:pt idx="107">
                  <c:v>120</c:v>
                </c:pt>
                <c:pt idx="108">
                  <c:v>307</c:v>
                </c:pt>
                <c:pt idx="109">
                  <c:v>90</c:v>
                </c:pt>
                <c:pt idx="110">
                  <c:v>49</c:v>
                </c:pt>
                <c:pt idx="111">
                  <c:v>340</c:v>
                </c:pt>
                <c:pt idx="112">
                  <c:v>288</c:v>
                </c:pt>
                <c:pt idx="113">
                  <c:v>241</c:v>
                </c:pt>
                <c:pt idx="114">
                  <c:v>46</c:v>
                </c:pt>
                <c:pt idx="115">
                  <c:v>116</c:v>
                </c:pt>
                <c:pt idx="116">
                  <c:v>130</c:v>
                </c:pt>
                <c:pt idx="117">
                  <c:v>145</c:v>
                </c:pt>
                <c:pt idx="118">
                  <c:v>360</c:v>
                </c:pt>
                <c:pt idx="119">
                  <c:v>332</c:v>
                </c:pt>
                <c:pt idx="120">
                  <c:v>257</c:v>
                </c:pt>
                <c:pt idx="121">
                  <c:v>221</c:v>
                </c:pt>
                <c:pt idx="122">
                  <c:v>94</c:v>
                </c:pt>
                <c:pt idx="123">
                  <c:v>122</c:v>
                </c:pt>
                <c:pt idx="124">
                  <c:v>77</c:v>
                </c:pt>
                <c:pt idx="125">
                  <c:v>547</c:v>
                </c:pt>
                <c:pt idx="126">
                  <c:v>301</c:v>
                </c:pt>
                <c:pt idx="127">
                  <c:v>274</c:v>
                </c:pt>
                <c:pt idx="128">
                  <c:v>334</c:v>
                </c:pt>
                <c:pt idx="129">
                  <c:v>309</c:v>
                </c:pt>
                <c:pt idx="130">
                  <c:v>111</c:v>
                </c:pt>
                <c:pt idx="131">
                  <c:v>58</c:v>
                </c:pt>
                <c:pt idx="132">
                  <c:v>473</c:v>
                </c:pt>
                <c:pt idx="133">
                  <c:v>223</c:v>
                </c:pt>
                <c:pt idx="134">
                  <c:v>285</c:v>
                </c:pt>
                <c:pt idx="135">
                  <c:v>151</c:v>
                </c:pt>
                <c:pt idx="136">
                  <c:v>151</c:v>
                </c:pt>
                <c:pt idx="137">
                  <c:v>68</c:v>
                </c:pt>
                <c:pt idx="138">
                  <c:v>71</c:v>
                </c:pt>
                <c:pt idx="139">
                  <c:v>289</c:v>
                </c:pt>
                <c:pt idx="140">
                  <c:v>155</c:v>
                </c:pt>
                <c:pt idx="141">
                  <c:v>218</c:v>
                </c:pt>
                <c:pt idx="142">
                  <c:v>167</c:v>
                </c:pt>
                <c:pt idx="143">
                  <c:v>196</c:v>
                </c:pt>
                <c:pt idx="144">
                  <c:v>80</c:v>
                </c:pt>
                <c:pt idx="145">
                  <c:v>37</c:v>
                </c:pt>
                <c:pt idx="146">
                  <c:v>173</c:v>
                </c:pt>
                <c:pt idx="147">
                  <c:v>117</c:v>
                </c:pt>
                <c:pt idx="148">
                  <c:v>155</c:v>
                </c:pt>
                <c:pt idx="149">
                  <c:v>100</c:v>
                </c:pt>
                <c:pt idx="150">
                  <c:v>84</c:v>
                </c:pt>
                <c:pt idx="151">
                  <c:v>79</c:v>
                </c:pt>
                <c:pt idx="152">
                  <c:v>20</c:v>
                </c:pt>
                <c:pt idx="153">
                  <c:v>186</c:v>
                </c:pt>
                <c:pt idx="154">
                  <c:v>164</c:v>
                </c:pt>
                <c:pt idx="155">
                  <c:v>161</c:v>
                </c:pt>
                <c:pt idx="156">
                  <c:v>126</c:v>
                </c:pt>
                <c:pt idx="157">
                  <c:v>133</c:v>
                </c:pt>
                <c:pt idx="158">
                  <c:v>55</c:v>
                </c:pt>
                <c:pt idx="159">
                  <c:v>34</c:v>
                </c:pt>
                <c:pt idx="160">
                  <c:v>138</c:v>
                </c:pt>
                <c:pt idx="161">
                  <c:v>87</c:v>
                </c:pt>
                <c:pt idx="162">
                  <c:v>101</c:v>
                </c:pt>
                <c:pt idx="163">
                  <c:v>105</c:v>
                </c:pt>
                <c:pt idx="164">
                  <c:v>93</c:v>
                </c:pt>
                <c:pt idx="165">
                  <c:v>23</c:v>
                </c:pt>
                <c:pt idx="166">
                  <c:v>24</c:v>
                </c:pt>
                <c:pt idx="167">
                  <c:v>100</c:v>
                </c:pt>
                <c:pt idx="168">
                  <c:v>50</c:v>
                </c:pt>
                <c:pt idx="169">
                  <c:v>66</c:v>
                </c:pt>
                <c:pt idx="170">
                  <c:v>59</c:v>
                </c:pt>
                <c:pt idx="171">
                  <c:v>64</c:v>
                </c:pt>
                <c:pt idx="172">
                  <c:v>24</c:v>
                </c:pt>
                <c:pt idx="173">
                  <c:v>23</c:v>
                </c:pt>
                <c:pt idx="174">
                  <c:v>165</c:v>
                </c:pt>
                <c:pt idx="175">
                  <c:v>81</c:v>
                </c:pt>
                <c:pt idx="176">
                  <c:v>68</c:v>
                </c:pt>
                <c:pt idx="177">
                  <c:v>79</c:v>
                </c:pt>
                <c:pt idx="178">
                  <c:v>85</c:v>
                </c:pt>
                <c:pt idx="179">
                  <c:v>20</c:v>
                </c:pt>
                <c:pt idx="180">
                  <c:v>12</c:v>
                </c:pt>
                <c:pt idx="181">
                  <c:v>137</c:v>
                </c:pt>
                <c:pt idx="182">
                  <c:v>68</c:v>
                </c:pt>
                <c:pt idx="183">
                  <c:v>103</c:v>
                </c:pt>
                <c:pt idx="184">
                  <c:v>51</c:v>
                </c:pt>
                <c:pt idx="185">
                  <c:v>54</c:v>
                </c:pt>
                <c:pt idx="186">
                  <c:v>19</c:v>
                </c:pt>
                <c:pt idx="187">
                  <c:v>15</c:v>
                </c:pt>
                <c:pt idx="188">
                  <c:v>90</c:v>
                </c:pt>
                <c:pt idx="189">
                  <c:v>117</c:v>
                </c:pt>
                <c:pt idx="190">
                  <c:v>85</c:v>
                </c:pt>
                <c:pt idx="191">
                  <c:v>38</c:v>
                </c:pt>
                <c:pt idx="192">
                  <c:v>44</c:v>
                </c:pt>
                <c:pt idx="193">
                  <c:v>21</c:v>
                </c:pt>
                <c:pt idx="194">
                  <c:v>13</c:v>
                </c:pt>
                <c:pt idx="195">
                  <c:v>68</c:v>
                </c:pt>
                <c:pt idx="196">
                  <c:v>45</c:v>
                </c:pt>
                <c:pt idx="197">
                  <c:v>32</c:v>
                </c:pt>
                <c:pt idx="198">
                  <c:v>53</c:v>
                </c:pt>
                <c:pt idx="199">
                  <c:v>39</c:v>
                </c:pt>
                <c:pt idx="200">
                  <c:v>11</c:v>
                </c:pt>
                <c:pt idx="201">
                  <c:v>8</c:v>
                </c:pt>
                <c:pt idx="202">
                  <c:v>47</c:v>
                </c:pt>
                <c:pt idx="203">
                  <c:v>48</c:v>
                </c:pt>
                <c:pt idx="204">
                  <c:v>30</c:v>
                </c:pt>
                <c:pt idx="205">
                  <c:v>39</c:v>
                </c:pt>
                <c:pt idx="206">
                  <c:v>22</c:v>
                </c:pt>
                <c:pt idx="207">
                  <c:v>6</c:v>
                </c:pt>
                <c:pt idx="208">
                  <c:v>5</c:v>
                </c:pt>
                <c:pt idx="209">
                  <c:v>40</c:v>
                </c:pt>
                <c:pt idx="210">
                  <c:v>27</c:v>
                </c:pt>
                <c:pt idx="211">
                  <c:v>24</c:v>
                </c:pt>
                <c:pt idx="212">
                  <c:v>21</c:v>
                </c:pt>
                <c:pt idx="213">
                  <c:v>7</c:v>
                </c:pt>
                <c:pt idx="214">
                  <c:v>7</c:v>
                </c:pt>
                <c:pt idx="215">
                  <c:v>4</c:v>
                </c:pt>
                <c:pt idx="216">
                  <c:v>6</c:v>
                </c:pt>
                <c:pt idx="217">
                  <c:v>27</c:v>
                </c:pt>
                <c:pt idx="218">
                  <c:v>35</c:v>
                </c:pt>
                <c:pt idx="219">
                  <c:v>17</c:v>
                </c:pt>
                <c:pt idx="220">
                  <c:v>11</c:v>
                </c:pt>
                <c:pt idx="221">
                  <c:v>6</c:v>
                </c:pt>
                <c:pt idx="222">
                  <c:v>1</c:v>
                </c:pt>
                <c:pt idx="223">
                  <c:v>9</c:v>
                </c:pt>
                <c:pt idx="224">
                  <c:v>8</c:v>
                </c:pt>
                <c:pt idx="225">
                  <c:v>6</c:v>
                </c:pt>
                <c:pt idx="226">
                  <c:v>10</c:v>
                </c:pt>
                <c:pt idx="227">
                  <c:v>7</c:v>
                </c:pt>
                <c:pt idx="228">
                  <c:v>2</c:v>
                </c:pt>
                <c:pt idx="229">
                  <c:v>2</c:v>
                </c:pt>
                <c:pt idx="230">
                  <c:v>15</c:v>
                </c:pt>
                <c:pt idx="231">
                  <c:v>8</c:v>
                </c:pt>
                <c:pt idx="232">
                  <c:v>7</c:v>
                </c:pt>
                <c:pt idx="233">
                  <c:v>13</c:v>
                </c:pt>
                <c:pt idx="234">
                  <c:v>8</c:v>
                </c:pt>
                <c:pt idx="235">
                  <c:v>2</c:v>
                </c:pt>
                <c:pt idx="236">
                  <c:v>0</c:v>
                </c:pt>
                <c:pt idx="237">
                  <c:v>9</c:v>
                </c:pt>
                <c:pt idx="238">
                  <c:v>11</c:v>
                </c:pt>
                <c:pt idx="239">
                  <c:v>3</c:v>
                </c:pt>
                <c:pt idx="240">
                  <c:v>4</c:v>
                </c:pt>
                <c:pt idx="241">
                  <c:v>6</c:v>
                </c:pt>
                <c:pt idx="242">
                  <c:v>0</c:v>
                </c:pt>
                <c:pt idx="243">
                  <c:v>1</c:v>
                </c:pt>
                <c:pt idx="244">
                  <c:v>3</c:v>
                </c:pt>
                <c:pt idx="245">
                  <c:v>2</c:v>
                </c:pt>
                <c:pt idx="246">
                  <c:v>3</c:v>
                </c:pt>
                <c:pt idx="247">
                  <c:v>5</c:v>
                </c:pt>
                <c:pt idx="248">
                  <c:v>3</c:v>
                </c:pt>
                <c:pt idx="249">
                  <c:v>1</c:v>
                </c:pt>
                <c:pt idx="250">
                  <c:v>3</c:v>
                </c:pt>
                <c:pt idx="251">
                  <c:v>7</c:v>
                </c:pt>
                <c:pt idx="252">
                  <c:v>6</c:v>
                </c:pt>
                <c:pt idx="253">
                  <c:v>0</c:v>
                </c:pt>
                <c:pt idx="254">
                  <c:v>4</c:v>
                </c:pt>
                <c:pt idx="255">
                  <c:v>4</c:v>
                </c:pt>
                <c:pt idx="256">
                  <c:v>1</c:v>
                </c:pt>
                <c:pt idx="257">
                  <c:v>0</c:v>
                </c:pt>
                <c:pt idx="258">
                  <c:v>8</c:v>
                </c:pt>
                <c:pt idx="259">
                  <c:v>5</c:v>
                </c:pt>
                <c:pt idx="260">
                  <c:v>4</c:v>
                </c:pt>
                <c:pt idx="261">
                  <c:v>3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5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8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7</c:v>
                </c:pt>
                <c:pt idx="392">
                  <c:v>2</c:v>
                </c:pt>
                <c:pt idx="393">
                  <c:v>8</c:v>
                </c:pt>
                <c:pt idx="394">
                  <c:v>3</c:v>
                </c:pt>
                <c:pt idx="395">
                  <c:v>3</c:v>
                </c:pt>
                <c:pt idx="396">
                  <c:v>1</c:v>
                </c:pt>
                <c:pt idx="397">
                  <c:v>1</c:v>
                </c:pt>
                <c:pt idx="398">
                  <c:v>5</c:v>
                </c:pt>
                <c:pt idx="399">
                  <c:v>7</c:v>
                </c:pt>
                <c:pt idx="400">
                  <c:v>13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3</c:v>
                </c:pt>
                <c:pt idx="407">
                  <c:v>21</c:v>
                </c:pt>
                <c:pt idx="408">
                  <c:v>6</c:v>
                </c:pt>
                <c:pt idx="409">
                  <c:v>8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3</c:v>
                </c:pt>
                <c:pt idx="414">
                  <c:v>15</c:v>
                </c:pt>
                <c:pt idx="415">
                  <c:v>9</c:v>
                </c:pt>
                <c:pt idx="416">
                  <c:v>15</c:v>
                </c:pt>
                <c:pt idx="417">
                  <c:v>1</c:v>
                </c:pt>
                <c:pt idx="418">
                  <c:v>5</c:v>
                </c:pt>
                <c:pt idx="419">
                  <c:v>33</c:v>
                </c:pt>
                <c:pt idx="420">
                  <c:v>14</c:v>
                </c:pt>
                <c:pt idx="421">
                  <c:v>28</c:v>
                </c:pt>
                <c:pt idx="422">
                  <c:v>3</c:v>
                </c:pt>
                <c:pt idx="423">
                  <c:v>26</c:v>
                </c:pt>
                <c:pt idx="424">
                  <c:v>12</c:v>
                </c:pt>
                <c:pt idx="425">
                  <c:v>15</c:v>
                </c:pt>
                <c:pt idx="426">
                  <c:v>76</c:v>
                </c:pt>
                <c:pt idx="427">
                  <c:v>39</c:v>
                </c:pt>
                <c:pt idx="428">
                  <c:v>35</c:v>
                </c:pt>
                <c:pt idx="429">
                  <c:v>77</c:v>
                </c:pt>
                <c:pt idx="430">
                  <c:v>50</c:v>
                </c:pt>
                <c:pt idx="431">
                  <c:v>19</c:v>
                </c:pt>
                <c:pt idx="432">
                  <c:v>10</c:v>
                </c:pt>
                <c:pt idx="433">
                  <c:v>81</c:v>
                </c:pt>
                <c:pt idx="434">
                  <c:v>55</c:v>
                </c:pt>
                <c:pt idx="435">
                  <c:v>44</c:v>
                </c:pt>
                <c:pt idx="436">
                  <c:v>54</c:v>
                </c:pt>
                <c:pt idx="437">
                  <c:v>51</c:v>
                </c:pt>
                <c:pt idx="438">
                  <c:v>33</c:v>
                </c:pt>
                <c:pt idx="439">
                  <c:v>28</c:v>
                </c:pt>
                <c:pt idx="440">
                  <c:v>99</c:v>
                </c:pt>
                <c:pt idx="441">
                  <c:v>66</c:v>
                </c:pt>
                <c:pt idx="442">
                  <c:v>37</c:v>
                </c:pt>
                <c:pt idx="443">
                  <c:v>97</c:v>
                </c:pt>
                <c:pt idx="444">
                  <c:v>137</c:v>
                </c:pt>
                <c:pt idx="445">
                  <c:v>37</c:v>
                </c:pt>
                <c:pt idx="446">
                  <c:v>16</c:v>
                </c:pt>
                <c:pt idx="447">
                  <c:v>118</c:v>
                </c:pt>
                <c:pt idx="448">
                  <c:v>67</c:v>
                </c:pt>
                <c:pt idx="449">
                  <c:v>88</c:v>
                </c:pt>
                <c:pt idx="450">
                  <c:v>78</c:v>
                </c:pt>
                <c:pt idx="451">
                  <c:v>100</c:v>
                </c:pt>
                <c:pt idx="452">
                  <c:v>27</c:v>
                </c:pt>
                <c:pt idx="453">
                  <c:v>15</c:v>
                </c:pt>
                <c:pt idx="454">
                  <c:v>85</c:v>
                </c:pt>
                <c:pt idx="455">
                  <c:v>62</c:v>
                </c:pt>
                <c:pt idx="456">
                  <c:v>71</c:v>
                </c:pt>
                <c:pt idx="457">
                  <c:v>63</c:v>
                </c:pt>
                <c:pt idx="458">
                  <c:v>42</c:v>
                </c:pt>
                <c:pt idx="459">
                  <c:v>59</c:v>
                </c:pt>
                <c:pt idx="460">
                  <c:v>16</c:v>
                </c:pt>
                <c:pt idx="461">
                  <c:v>77</c:v>
                </c:pt>
                <c:pt idx="462">
                  <c:v>57</c:v>
                </c:pt>
                <c:pt idx="463">
                  <c:v>52</c:v>
                </c:pt>
                <c:pt idx="464">
                  <c:v>56</c:v>
                </c:pt>
                <c:pt idx="465">
                  <c:v>47</c:v>
                </c:pt>
                <c:pt idx="466">
                  <c:v>19</c:v>
                </c:pt>
                <c:pt idx="467">
                  <c:v>8</c:v>
                </c:pt>
                <c:pt idx="468">
                  <c:v>46</c:v>
                </c:pt>
                <c:pt idx="469">
                  <c:v>63</c:v>
                </c:pt>
                <c:pt idx="470">
                  <c:v>43</c:v>
                </c:pt>
                <c:pt idx="471">
                  <c:v>24</c:v>
                </c:pt>
                <c:pt idx="472">
                  <c:v>26</c:v>
                </c:pt>
                <c:pt idx="473">
                  <c:v>10</c:v>
                </c:pt>
                <c:pt idx="474">
                  <c:v>13</c:v>
                </c:pt>
                <c:pt idx="475">
                  <c:v>39</c:v>
                </c:pt>
                <c:pt idx="476">
                  <c:v>20</c:v>
                </c:pt>
                <c:pt idx="477">
                  <c:v>11</c:v>
                </c:pt>
                <c:pt idx="478">
                  <c:v>9</c:v>
                </c:pt>
                <c:pt idx="479">
                  <c:v>7</c:v>
                </c:pt>
                <c:pt idx="480">
                  <c:v>8</c:v>
                </c:pt>
                <c:pt idx="481">
                  <c:v>5</c:v>
                </c:pt>
                <c:pt idx="482">
                  <c:v>20</c:v>
                </c:pt>
                <c:pt idx="483">
                  <c:v>23</c:v>
                </c:pt>
                <c:pt idx="484">
                  <c:v>13</c:v>
                </c:pt>
                <c:pt idx="485">
                  <c:v>11</c:v>
                </c:pt>
                <c:pt idx="486">
                  <c:v>16</c:v>
                </c:pt>
                <c:pt idx="487">
                  <c:v>2</c:v>
                </c:pt>
                <c:pt idx="488">
                  <c:v>3</c:v>
                </c:pt>
                <c:pt idx="489">
                  <c:v>23</c:v>
                </c:pt>
                <c:pt idx="490">
                  <c:v>19</c:v>
                </c:pt>
                <c:pt idx="491">
                  <c:v>11</c:v>
                </c:pt>
                <c:pt idx="492">
                  <c:v>15</c:v>
                </c:pt>
                <c:pt idx="493">
                  <c:v>17</c:v>
                </c:pt>
                <c:pt idx="494" formatCode="General">
                  <c:v>4</c:v>
                </c:pt>
                <c:pt idx="495" formatCode="General">
                  <c:v>5</c:v>
                </c:pt>
                <c:pt idx="496" formatCode="General">
                  <c:v>19</c:v>
                </c:pt>
                <c:pt idx="497" formatCode="General">
                  <c:v>19</c:v>
                </c:pt>
                <c:pt idx="498" formatCode="General">
                  <c:v>11</c:v>
                </c:pt>
                <c:pt idx="499" formatCode="General">
                  <c:v>17</c:v>
                </c:pt>
                <c:pt idx="500" formatCode="General">
                  <c:v>19</c:v>
                </c:pt>
                <c:pt idx="501" formatCode="General">
                  <c:v>6</c:v>
                </c:pt>
                <c:pt idx="502" formatCode="General">
                  <c:v>13</c:v>
                </c:pt>
                <c:pt idx="503" formatCode="General">
                  <c:v>58</c:v>
                </c:pt>
                <c:pt idx="504" formatCode="General">
                  <c:v>33</c:v>
                </c:pt>
                <c:pt idx="505" formatCode="General">
                  <c:v>42</c:v>
                </c:pt>
                <c:pt idx="506" formatCode="General">
                  <c:v>76</c:v>
                </c:pt>
                <c:pt idx="507" formatCode="General">
                  <c:v>74</c:v>
                </c:pt>
                <c:pt idx="508" formatCode="General">
                  <c:v>41</c:v>
                </c:pt>
                <c:pt idx="509" formatCode="General">
                  <c:v>30</c:v>
                </c:pt>
                <c:pt idx="510" formatCode="General">
                  <c:v>80</c:v>
                </c:pt>
                <c:pt idx="511" formatCode="General">
                  <c:v>148</c:v>
                </c:pt>
                <c:pt idx="512" formatCode="General">
                  <c:v>160</c:v>
                </c:pt>
                <c:pt idx="513" formatCode="General">
                  <c:v>100</c:v>
                </c:pt>
                <c:pt idx="514" formatCode="General">
                  <c:v>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V$1</c:f>
              <c:strCache>
                <c:ptCount val="21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  <c:pt idx="20">
                  <c:v>01/2022</c:v>
                </c:pt>
              </c:strCache>
            </c:strRef>
          </c:cat>
          <c:val>
            <c:numRef>
              <c:f>List1!$B$2:$V$2</c:f>
              <c:numCache>
                <c:formatCode>General</c:formatCode>
                <c:ptCount val="21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2</c:v>
                </c:pt>
                <c:pt idx="18">
                  <c:v>645</c:v>
                </c:pt>
                <c:pt idx="19">
                  <c:v>592</c:v>
                </c:pt>
                <c:pt idx="20">
                  <c:v>3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16</c:f>
              <c:numCache>
                <c:formatCode>m/d/yyyy</c:formatCode>
                <c:ptCount val="51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</c:numCache>
            </c:numRef>
          </c:cat>
          <c:val>
            <c:numRef>
              <c:f>Sheet1!$B$2:$B$516</c:f>
              <c:numCache>
                <c:formatCode>#\ ##0_ ;\-#\ ##0\ </c:formatCode>
                <c:ptCount val="5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2</c:v>
                </c:pt>
                <c:pt idx="57">
                  <c:v>27</c:v>
                </c:pt>
                <c:pt idx="58">
                  <c:v>45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3</c:v>
                </c:pt>
                <c:pt idx="66">
                  <c:v>44</c:v>
                </c:pt>
                <c:pt idx="67">
                  <c:v>42</c:v>
                </c:pt>
                <c:pt idx="68">
                  <c:v>40</c:v>
                </c:pt>
                <c:pt idx="69">
                  <c:v>37</c:v>
                </c:pt>
                <c:pt idx="70">
                  <c:v>44</c:v>
                </c:pt>
                <c:pt idx="71">
                  <c:v>43</c:v>
                </c:pt>
                <c:pt idx="72">
                  <c:v>48</c:v>
                </c:pt>
                <c:pt idx="73">
                  <c:v>49</c:v>
                </c:pt>
                <c:pt idx="74">
                  <c:v>36</c:v>
                </c:pt>
                <c:pt idx="75">
                  <c:v>25</c:v>
                </c:pt>
                <c:pt idx="76">
                  <c:v>35</c:v>
                </c:pt>
                <c:pt idx="77">
                  <c:v>42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7</c:v>
                </c:pt>
                <c:pt idx="84">
                  <c:v>41</c:v>
                </c:pt>
                <c:pt idx="85">
                  <c:v>28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0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5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3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19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7</c:v>
                </c:pt>
                <c:pt idx="135">
                  <c:v>23</c:v>
                </c:pt>
                <c:pt idx="136">
                  <c:v>21</c:v>
                </c:pt>
                <c:pt idx="137">
                  <c:v>17</c:v>
                </c:pt>
                <c:pt idx="138">
                  <c:v>18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6</c:v>
                </c:pt>
                <c:pt idx="154">
                  <c:v>9</c:v>
                </c:pt>
                <c:pt idx="155">
                  <c:v>9</c:v>
                </c:pt>
                <c:pt idx="156">
                  <c:v>13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8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10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8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4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5</c:v>
                </c:pt>
                <c:pt idx="434">
                  <c:v>4</c:v>
                </c:pt>
                <c:pt idx="435">
                  <c:v>3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6</c:v>
                </c:pt>
                <c:pt idx="449">
                  <c:v>3</c:v>
                </c:pt>
                <c:pt idx="450">
                  <c:v>3</c:v>
                </c:pt>
                <c:pt idx="451">
                  <c:v>12</c:v>
                </c:pt>
                <c:pt idx="452">
                  <c:v>4</c:v>
                </c:pt>
                <c:pt idx="453">
                  <c:v>5</c:v>
                </c:pt>
                <c:pt idx="454">
                  <c:v>4</c:v>
                </c:pt>
                <c:pt idx="455">
                  <c:v>6</c:v>
                </c:pt>
                <c:pt idx="456">
                  <c:v>5</c:v>
                </c:pt>
                <c:pt idx="457">
                  <c:v>0</c:v>
                </c:pt>
                <c:pt idx="458">
                  <c:v>0</c:v>
                </c:pt>
                <c:pt idx="459">
                  <c:v>1</c:v>
                </c:pt>
                <c:pt idx="460">
                  <c:v>5</c:v>
                </c:pt>
                <c:pt idx="461">
                  <c:v>4</c:v>
                </c:pt>
                <c:pt idx="462">
                  <c:v>3</c:v>
                </c:pt>
                <c:pt idx="463">
                  <c:v>5</c:v>
                </c:pt>
                <c:pt idx="464">
                  <c:v>4</c:v>
                </c:pt>
                <c:pt idx="465">
                  <c:v>2</c:v>
                </c:pt>
                <c:pt idx="466">
                  <c:v>2</c:v>
                </c:pt>
                <c:pt idx="467">
                  <c:v>2</c:v>
                </c:pt>
                <c:pt idx="468">
                  <c:v>1</c:v>
                </c:pt>
                <c:pt idx="469">
                  <c:v>3</c:v>
                </c:pt>
                <c:pt idx="470">
                  <c:v>2</c:v>
                </c:pt>
                <c:pt idx="471">
                  <c:v>5</c:v>
                </c:pt>
                <c:pt idx="472">
                  <c:v>6</c:v>
                </c:pt>
                <c:pt idx="473">
                  <c:v>1</c:v>
                </c:pt>
                <c:pt idx="474">
                  <c:v>1</c:v>
                </c:pt>
                <c:pt idx="475">
                  <c:v>5</c:v>
                </c:pt>
                <c:pt idx="476">
                  <c:v>0</c:v>
                </c:pt>
                <c:pt idx="477">
                  <c:v>0</c:v>
                </c:pt>
                <c:pt idx="478">
                  <c:v>1</c:v>
                </c:pt>
                <c:pt idx="479">
                  <c:v>1</c:v>
                </c:pt>
                <c:pt idx="480">
                  <c:v>4</c:v>
                </c:pt>
                <c:pt idx="481">
                  <c:v>1</c:v>
                </c:pt>
                <c:pt idx="482">
                  <c:v>0</c:v>
                </c:pt>
                <c:pt idx="483">
                  <c:v>1</c:v>
                </c:pt>
                <c:pt idx="484">
                  <c:v>1</c:v>
                </c:pt>
                <c:pt idx="485">
                  <c:v>4</c:v>
                </c:pt>
                <c:pt idx="486">
                  <c:v>0</c:v>
                </c:pt>
                <c:pt idx="487">
                  <c:v>2</c:v>
                </c:pt>
                <c:pt idx="488">
                  <c:v>0</c:v>
                </c:pt>
                <c:pt idx="489">
                  <c:v>0</c:v>
                </c:pt>
                <c:pt idx="490">
                  <c:v>3</c:v>
                </c:pt>
                <c:pt idx="491">
                  <c:v>0</c:v>
                </c:pt>
                <c:pt idx="492">
                  <c:v>3</c:v>
                </c:pt>
                <c:pt idx="493">
                  <c:v>1</c:v>
                </c:pt>
                <c:pt idx="494">
                  <c:v>0</c:v>
                </c:pt>
                <c:pt idx="495">
                  <c:v>1</c:v>
                </c:pt>
                <c:pt idx="496">
                  <c:v>0</c:v>
                </c:pt>
                <c:pt idx="497">
                  <c:v>1</c:v>
                </c:pt>
                <c:pt idx="498">
                  <c:v>1</c:v>
                </c:pt>
                <c:pt idx="499">
                  <c:v>0</c:v>
                </c:pt>
                <c:pt idx="500">
                  <c:v>1</c:v>
                </c:pt>
                <c:pt idx="501">
                  <c:v>0</c:v>
                </c:pt>
                <c:pt idx="502">
                  <c:v>1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3</c:v>
                </c:pt>
                <c:pt idx="507">
                  <c:v>1</c:v>
                </c:pt>
                <c:pt idx="508">
                  <c:v>1</c:v>
                </c:pt>
                <c:pt idx="509">
                  <c:v>3</c:v>
                </c:pt>
                <c:pt idx="510">
                  <c:v>0</c:v>
                </c:pt>
                <c:pt idx="511">
                  <c:v>2</c:v>
                </c:pt>
                <c:pt idx="512">
                  <c:v>0</c:v>
                </c:pt>
                <c:pt idx="513">
                  <c:v>1</c:v>
                </c:pt>
                <c:pt idx="51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24</c:f>
              <c:numCache>
                <c:formatCode>m/d/yyyy</c:formatCode>
                <c:ptCount val="423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8</c:v>
                </c:pt>
                <c:pt idx="238">
                  <c:v>44319</c:v>
                </c:pt>
                <c:pt idx="239">
                  <c:v>44320</c:v>
                </c:pt>
                <c:pt idx="240">
                  <c:v>44321</c:v>
                </c:pt>
                <c:pt idx="241">
                  <c:v>44322</c:v>
                </c:pt>
                <c:pt idx="242">
                  <c:v>44323</c:v>
                </c:pt>
                <c:pt idx="243">
                  <c:v>44324</c:v>
                </c:pt>
                <c:pt idx="244">
                  <c:v>44325</c:v>
                </c:pt>
                <c:pt idx="245">
                  <c:v>44326</c:v>
                </c:pt>
                <c:pt idx="246">
                  <c:v>44327</c:v>
                </c:pt>
                <c:pt idx="247">
                  <c:v>44329</c:v>
                </c:pt>
                <c:pt idx="248">
                  <c:v>44330</c:v>
                </c:pt>
                <c:pt idx="249">
                  <c:v>44331</c:v>
                </c:pt>
                <c:pt idx="250">
                  <c:v>44333</c:v>
                </c:pt>
                <c:pt idx="251">
                  <c:v>44334</c:v>
                </c:pt>
                <c:pt idx="252">
                  <c:v>44335</c:v>
                </c:pt>
                <c:pt idx="253">
                  <c:v>44336</c:v>
                </c:pt>
                <c:pt idx="254">
                  <c:v>44337</c:v>
                </c:pt>
                <c:pt idx="255">
                  <c:v>44340</c:v>
                </c:pt>
                <c:pt idx="256">
                  <c:v>44341</c:v>
                </c:pt>
                <c:pt idx="257">
                  <c:v>44342</c:v>
                </c:pt>
                <c:pt idx="258">
                  <c:v>44343</c:v>
                </c:pt>
                <c:pt idx="259">
                  <c:v>44349</c:v>
                </c:pt>
                <c:pt idx="260">
                  <c:v>44350</c:v>
                </c:pt>
                <c:pt idx="261">
                  <c:v>44358</c:v>
                </c:pt>
                <c:pt idx="262">
                  <c:v>44364</c:v>
                </c:pt>
                <c:pt idx="263">
                  <c:v>44370</c:v>
                </c:pt>
                <c:pt idx="264">
                  <c:v>44371</c:v>
                </c:pt>
                <c:pt idx="265">
                  <c:v>44377</c:v>
                </c:pt>
                <c:pt idx="266">
                  <c:v>44378</c:v>
                </c:pt>
                <c:pt idx="267">
                  <c:v>44381</c:v>
                </c:pt>
                <c:pt idx="268">
                  <c:v>44385</c:v>
                </c:pt>
                <c:pt idx="269">
                  <c:v>44388</c:v>
                </c:pt>
                <c:pt idx="270">
                  <c:v>44398</c:v>
                </c:pt>
                <c:pt idx="271">
                  <c:v>44401</c:v>
                </c:pt>
                <c:pt idx="272">
                  <c:v>44404</c:v>
                </c:pt>
                <c:pt idx="273">
                  <c:v>44405</c:v>
                </c:pt>
                <c:pt idx="274">
                  <c:v>44416</c:v>
                </c:pt>
                <c:pt idx="275">
                  <c:v>44419</c:v>
                </c:pt>
                <c:pt idx="276">
                  <c:v>44424</c:v>
                </c:pt>
                <c:pt idx="277">
                  <c:v>44425</c:v>
                </c:pt>
                <c:pt idx="278">
                  <c:v>44427</c:v>
                </c:pt>
                <c:pt idx="279">
                  <c:v>44431</c:v>
                </c:pt>
                <c:pt idx="280">
                  <c:v>44434</c:v>
                </c:pt>
                <c:pt idx="281">
                  <c:v>44435</c:v>
                </c:pt>
                <c:pt idx="282">
                  <c:v>44436</c:v>
                </c:pt>
                <c:pt idx="283">
                  <c:v>44440</c:v>
                </c:pt>
                <c:pt idx="284">
                  <c:v>44441</c:v>
                </c:pt>
                <c:pt idx="285">
                  <c:v>44442</c:v>
                </c:pt>
                <c:pt idx="286">
                  <c:v>44443</c:v>
                </c:pt>
                <c:pt idx="287">
                  <c:v>44445</c:v>
                </c:pt>
                <c:pt idx="288">
                  <c:v>44446</c:v>
                </c:pt>
                <c:pt idx="289">
                  <c:v>44447</c:v>
                </c:pt>
                <c:pt idx="290">
                  <c:v>44448</c:v>
                </c:pt>
                <c:pt idx="291">
                  <c:v>44451</c:v>
                </c:pt>
                <c:pt idx="292">
                  <c:v>44452</c:v>
                </c:pt>
                <c:pt idx="293">
                  <c:v>44453</c:v>
                </c:pt>
                <c:pt idx="294">
                  <c:v>44457</c:v>
                </c:pt>
                <c:pt idx="295">
                  <c:v>44459</c:v>
                </c:pt>
                <c:pt idx="296">
                  <c:v>44460</c:v>
                </c:pt>
                <c:pt idx="297">
                  <c:v>44461</c:v>
                </c:pt>
                <c:pt idx="298">
                  <c:v>44464</c:v>
                </c:pt>
                <c:pt idx="299">
                  <c:v>44465</c:v>
                </c:pt>
                <c:pt idx="300">
                  <c:v>44466</c:v>
                </c:pt>
                <c:pt idx="301">
                  <c:v>44467</c:v>
                </c:pt>
                <c:pt idx="302">
                  <c:v>44468</c:v>
                </c:pt>
                <c:pt idx="303">
                  <c:v>44469</c:v>
                </c:pt>
                <c:pt idx="304">
                  <c:v>44470</c:v>
                </c:pt>
                <c:pt idx="305">
                  <c:v>44471</c:v>
                </c:pt>
                <c:pt idx="306">
                  <c:v>44472</c:v>
                </c:pt>
                <c:pt idx="307">
                  <c:v>44473</c:v>
                </c:pt>
                <c:pt idx="308">
                  <c:v>44474</c:v>
                </c:pt>
                <c:pt idx="309">
                  <c:v>44475</c:v>
                </c:pt>
                <c:pt idx="310">
                  <c:v>44476</c:v>
                </c:pt>
                <c:pt idx="311">
                  <c:v>44477</c:v>
                </c:pt>
                <c:pt idx="312">
                  <c:v>44478</c:v>
                </c:pt>
                <c:pt idx="313">
                  <c:v>44480</c:v>
                </c:pt>
                <c:pt idx="314">
                  <c:v>44481</c:v>
                </c:pt>
                <c:pt idx="315">
                  <c:v>44482</c:v>
                </c:pt>
                <c:pt idx="316">
                  <c:v>44483</c:v>
                </c:pt>
                <c:pt idx="317">
                  <c:v>44484</c:v>
                </c:pt>
                <c:pt idx="318">
                  <c:v>44485</c:v>
                </c:pt>
                <c:pt idx="319">
                  <c:v>44486</c:v>
                </c:pt>
                <c:pt idx="320">
                  <c:v>44487</c:v>
                </c:pt>
                <c:pt idx="321">
                  <c:v>44488</c:v>
                </c:pt>
                <c:pt idx="322">
                  <c:v>44489</c:v>
                </c:pt>
                <c:pt idx="323">
                  <c:v>44490</c:v>
                </c:pt>
                <c:pt idx="324">
                  <c:v>44491</c:v>
                </c:pt>
                <c:pt idx="325">
                  <c:v>44492</c:v>
                </c:pt>
                <c:pt idx="326">
                  <c:v>44493</c:v>
                </c:pt>
                <c:pt idx="327">
                  <c:v>44494</c:v>
                </c:pt>
                <c:pt idx="328">
                  <c:v>44495</c:v>
                </c:pt>
                <c:pt idx="329">
                  <c:v>44496</c:v>
                </c:pt>
                <c:pt idx="330">
                  <c:v>44497</c:v>
                </c:pt>
                <c:pt idx="331">
                  <c:v>44498</c:v>
                </c:pt>
                <c:pt idx="332">
                  <c:v>44499</c:v>
                </c:pt>
                <c:pt idx="333">
                  <c:v>44500</c:v>
                </c:pt>
                <c:pt idx="334">
                  <c:v>44501</c:v>
                </c:pt>
                <c:pt idx="335">
                  <c:v>44502</c:v>
                </c:pt>
                <c:pt idx="336">
                  <c:v>44503</c:v>
                </c:pt>
                <c:pt idx="337">
                  <c:v>44504</c:v>
                </c:pt>
                <c:pt idx="338">
                  <c:v>44505</c:v>
                </c:pt>
                <c:pt idx="339">
                  <c:v>44506</c:v>
                </c:pt>
                <c:pt idx="340">
                  <c:v>44507</c:v>
                </c:pt>
                <c:pt idx="341">
                  <c:v>44508</c:v>
                </c:pt>
                <c:pt idx="342">
                  <c:v>44509</c:v>
                </c:pt>
                <c:pt idx="343">
                  <c:v>44510</c:v>
                </c:pt>
                <c:pt idx="344">
                  <c:v>44511</c:v>
                </c:pt>
                <c:pt idx="345">
                  <c:v>44512</c:v>
                </c:pt>
                <c:pt idx="346">
                  <c:v>44513</c:v>
                </c:pt>
                <c:pt idx="347">
                  <c:v>44514</c:v>
                </c:pt>
                <c:pt idx="348">
                  <c:v>44515</c:v>
                </c:pt>
                <c:pt idx="349">
                  <c:v>44516</c:v>
                </c:pt>
                <c:pt idx="350">
                  <c:v>44517</c:v>
                </c:pt>
                <c:pt idx="351">
                  <c:v>44518</c:v>
                </c:pt>
                <c:pt idx="352">
                  <c:v>44519</c:v>
                </c:pt>
                <c:pt idx="353">
                  <c:v>44520</c:v>
                </c:pt>
                <c:pt idx="354">
                  <c:v>44521</c:v>
                </c:pt>
                <c:pt idx="355">
                  <c:v>44522</c:v>
                </c:pt>
                <c:pt idx="356">
                  <c:v>44523</c:v>
                </c:pt>
                <c:pt idx="357">
                  <c:v>44524</c:v>
                </c:pt>
                <c:pt idx="358">
                  <c:v>44525</c:v>
                </c:pt>
                <c:pt idx="359">
                  <c:v>44526</c:v>
                </c:pt>
                <c:pt idx="360">
                  <c:v>44527</c:v>
                </c:pt>
                <c:pt idx="361">
                  <c:v>44528</c:v>
                </c:pt>
                <c:pt idx="362">
                  <c:v>44529</c:v>
                </c:pt>
                <c:pt idx="363">
                  <c:v>44530</c:v>
                </c:pt>
                <c:pt idx="364">
                  <c:v>44531</c:v>
                </c:pt>
                <c:pt idx="365">
                  <c:v>44532</c:v>
                </c:pt>
                <c:pt idx="366">
                  <c:v>44533</c:v>
                </c:pt>
                <c:pt idx="367">
                  <c:v>44534</c:v>
                </c:pt>
                <c:pt idx="368">
                  <c:v>44535</c:v>
                </c:pt>
                <c:pt idx="369">
                  <c:v>44536</c:v>
                </c:pt>
                <c:pt idx="370">
                  <c:v>44537</c:v>
                </c:pt>
                <c:pt idx="371">
                  <c:v>44538</c:v>
                </c:pt>
                <c:pt idx="372">
                  <c:v>44539</c:v>
                </c:pt>
                <c:pt idx="373">
                  <c:v>44540</c:v>
                </c:pt>
                <c:pt idx="374">
                  <c:v>44541</c:v>
                </c:pt>
                <c:pt idx="375">
                  <c:v>44542</c:v>
                </c:pt>
                <c:pt idx="376">
                  <c:v>44543</c:v>
                </c:pt>
                <c:pt idx="377">
                  <c:v>44544</c:v>
                </c:pt>
                <c:pt idx="378">
                  <c:v>44545</c:v>
                </c:pt>
                <c:pt idx="379">
                  <c:v>44546</c:v>
                </c:pt>
                <c:pt idx="380">
                  <c:v>44547</c:v>
                </c:pt>
                <c:pt idx="381">
                  <c:v>44548</c:v>
                </c:pt>
                <c:pt idx="382">
                  <c:v>44549</c:v>
                </c:pt>
                <c:pt idx="383">
                  <c:v>44550</c:v>
                </c:pt>
                <c:pt idx="384">
                  <c:v>44551</c:v>
                </c:pt>
                <c:pt idx="385">
                  <c:v>44552</c:v>
                </c:pt>
                <c:pt idx="386">
                  <c:v>44553</c:v>
                </c:pt>
                <c:pt idx="387">
                  <c:v>44554</c:v>
                </c:pt>
                <c:pt idx="388">
                  <c:v>44555</c:v>
                </c:pt>
                <c:pt idx="389">
                  <c:v>44556</c:v>
                </c:pt>
                <c:pt idx="390">
                  <c:v>44557</c:v>
                </c:pt>
                <c:pt idx="391">
                  <c:v>44558</c:v>
                </c:pt>
                <c:pt idx="392">
                  <c:v>44559</c:v>
                </c:pt>
                <c:pt idx="393">
                  <c:v>44560</c:v>
                </c:pt>
                <c:pt idx="394">
                  <c:v>44561</c:v>
                </c:pt>
                <c:pt idx="395">
                  <c:v>44562</c:v>
                </c:pt>
                <c:pt idx="396">
                  <c:v>44563</c:v>
                </c:pt>
                <c:pt idx="397">
                  <c:v>44564</c:v>
                </c:pt>
                <c:pt idx="398">
                  <c:v>44565</c:v>
                </c:pt>
                <c:pt idx="399">
                  <c:v>44566</c:v>
                </c:pt>
                <c:pt idx="400">
                  <c:v>44567</c:v>
                </c:pt>
                <c:pt idx="401">
                  <c:v>44568</c:v>
                </c:pt>
                <c:pt idx="402">
                  <c:v>44569</c:v>
                </c:pt>
                <c:pt idx="403">
                  <c:v>44570</c:v>
                </c:pt>
                <c:pt idx="404">
                  <c:v>44571</c:v>
                </c:pt>
                <c:pt idx="405">
                  <c:v>44572</c:v>
                </c:pt>
                <c:pt idx="406">
                  <c:v>44573</c:v>
                </c:pt>
                <c:pt idx="407">
                  <c:v>44574</c:v>
                </c:pt>
                <c:pt idx="408">
                  <c:v>44575</c:v>
                </c:pt>
                <c:pt idx="409">
                  <c:v>44576</c:v>
                </c:pt>
                <c:pt idx="410">
                  <c:v>44577</c:v>
                </c:pt>
                <c:pt idx="411">
                  <c:v>44578</c:v>
                </c:pt>
                <c:pt idx="412">
                  <c:v>44579</c:v>
                </c:pt>
                <c:pt idx="413">
                  <c:v>44580</c:v>
                </c:pt>
                <c:pt idx="414">
                  <c:v>44581</c:v>
                </c:pt>
                <c:pt idx="415">
                  <c:v>44582</c:v>
                </c:pt>
                <c:pt idx="416">
                  <c:v>44583</c:v>
                </c:pt>
                <c:pt idx="417">
                  <c:v>44584</c:v>
                </c:pt>
                <c:pt idx="418">
                  <c:v>44585</c:v>
                </c:pt>
                <c:pt idx="419">
                  <c:v>44586</c:v>
                </c:pt>
                <c:pt idx="420">
                  <c:v>44587</c:v>
                </c:pt>
                <c:pt idx="421">
                  <c:v>44588</c:v>
                </c:pt>
                <c:pt idx="422">
                  <c:v>44589</c:v>
                </c:pt>
              </c:numCache>
            </c:numRef>
          </c:cat>
          <c:val>
            <c:numRef>
              <c:f>Sheet1!$B$2:$B$424</c:f>
              <c:numCache>
                <c:formatCode>General</c:formatCode>
                <c:ptCount val="423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4</c:v>
                </c:pt>
                <c:pt idx="24">
                  <c:v>1</c:v>
                </c:pt>
                <c:pt idx="25">
                  <c:v>8</c:v>
                </c:pt>
                <c:pt idx="26">
                  <c:v>9</c:v>
                </c:pt>
                <c:pt idx="27">
                  <c:v>18</c:v>
                </c:pt>
                <c:pt idx="28">
                  <c:v>10</c:v>
                </c:pt>
                <c:pt idx="29">
                  <c:v>7</c:v>
                </c:pt>
                <c:pt idx="30">
                  <c:v>46</c:v>
                </c:pt>
                <c:pt idx="31">
                  <c:v>15</c:v>
                </c:pt>
                <c:pt idx="32">
                  <c:v>8</c:v>
                </c:pt>
                <c:pt idx="33">
                  <c:v>17</c:v>
                </c:pt>
                <c:pt idx="34">
                  <c:v>28</c:v>
                </c:pt>
                <c:pt idx="35">
                  <c:v>12</c:v>
                </c:pt>
                <c:pt idx="36">
                  <c:v>2</c:v>
                </c:pt>
                <c:pt idx="37">
                  <c:v>28</c:v>
                </c:pt>
                <c:pt idx="38">
                  <c:v>36</c:v>
                </c:pt>
                <c:pt idx="39">
                  <c:v>49</c:v>
                </c:pt>
                <c:pt idx="40">
                  <c:v>33</c:v>
                </c:pt>
                <c:pt idx="41">
                  <c:v>40</c:v>
                </c:pt>
                <c:pt idx="42">
                  <c:v>25</c:v>
                </c:pt>
                <c:pt idx="43">
                  <c:v>16</c:v>
                </c:pt>
                <c:pt idx="44">
                  <c:v>42</c:v>
                </c:pt>
                <c:pt idx="45">
                  <c:v>40</c:v>
                </c:pt>
                <c:pt idx="46">
                  <c:v>54</c:v>
                </c:pt>
                <c:pt idx="47">
                  <c:v>62</c:v>
                </c:pt>
                <c:pt idx="48">
                  <c:v>76</c:v>
                </c:pt>
                <c:pt idx="49">
                  <c:v>45</c:v>
                </c:pt>
                <c:pt idx="50">
                  <c:v>33</c:v>
                </c:pt>
                <c:pt idx="51">
                  <c:v>79</c:v>
                </c:pt>
                <c:pt idx="52">
                  <c:v>70</c:v>
                </c:pt>
                <c:pt idx="53">
                  <c:v>42</c:v>
                </c:pt>
                <c:pt idx="54">
                  <c:v>85</c:v>
                </c:pt>
                <c:pt idx="55">
                  <c:v>96</c:v>
                </c:pt>
                <c:pt idx="56">
                  <c:v>37</c:v>
                </c:pt>
                <c:pt idx="57">
                  <c:v>37</c:v>
                </c:pt>
                <c:pt idx="58">
                  <c:v>63</c:v>
                </c:pt>
                <c:pt idx="59">
                  <c:v>63</c:v>
                </c:pt>
                <c:pt idx="60">
                  <c:v>65</c:v>
                </c:pt>
                <c:pt idx="61">
                  <c:v>79</c:v>
                </c:pt>
                <c:pt idx="62">
                  <c:v>84</c:v>
                </c:pt>
                <c:pt idx="63">
                  <c:v>32</c:v>
                </c:pt>
                <c:pt idx="64">
                  <c:v>16</c:v>
                </c:pt>
                <c:pt idx="65">
                  <c:v>53</c:v>
                </c:pt>
                <c:pt idx="66">
                  <c:v>72</c:v>
                </c:pt>
                <c:pt idx="67">
                  <c:v>119</c:v>
                </c:pt>
                <c:pt idx="68">
                  <c:v>93</c:v>
                </c:pt>
                <c:pt idx="69">
                  <c:v>81</c:v>
                </c:pt>
                <c:pt idx="70">
                  <c:v>44</c:v>
                </c:pt>
                <c:pt idx="71">
                  <c:v>24</c:v>
                </c:pt>
                <c:pt idx="72">
                  <c:v>66</c:v>
                </c:pt>
                <c:pt idx="73">
                  <c:v>26</c:v>
                </c:pt>
                <c:pt idx="74">
                  <c:v>49</c:v>
                </c:pt>
                <c:pt idx="75">
                  <c:v>59</c:v>
                </c:pt>
                <c:pt idx="76">
                  <c:v>50</c:v>
                </c:pt>
                <c:pt idx="77">
                  <c:v>20</c:v>
                </c:pt>
                <c:pt idx="78">
                  <c:v>13</c:v>
                </c:pt>
                <c:pt idx="79">
                  <c:v>70</c:v>
                </c:pt>
                <c:pt idx="80">
                  <c:v>41</c:v>
                </c:pt>
                <c:pt idx="81">
                  <c:v>26</c:v>
                </c:pt>
                <c:pt idx="82">
                  <c:v>35</c:v>
                </c:pt>
                <c:pt idx="83">
                  <c:v>27</c:v>
                </c:pt>
                <c:pt idx="84">
                  <c:v>15</c:v>
                </c:pt>
                <c:pt idx="85">
                  <c:v>13</c:v>
                </c:pt>
                <c:pt idx="86">
                  <c:v>42</c:v>
                </c:pt>
                <c:pt idx="87">
                  <c:v>33</c:v>
                </c:pt>
                <c:pt idx="88">
                  <c:v>27</c:v>
                </c:pt>
                <c:pt idx="89">
                  <c:v>22</c:v>
                </c:pt>
                <c:pt idx="90">
                  <c:v>37</c:v>
                </c:pt>
                <c:pt idx="91">
                  <c:v>20</c:v>
                </c:pt>
                <c:pt idx="92">
                  <c:v>10</c:v>
                </c:pt>
                <c:pt idx="93">
                  <c:v>34</c:v>
                </c:pt>
                <c:pt idx="94">
                  <c:v>28</c:v>
                </c:pt>
                <c:pt idx="95">
                  <c:v>33</c:v>
                </c:pt>
                <c:pt idx="96">
                  <c:v>25</c:v>
                </c:pt>
                <c:pt idx="97">
                  <c:v>34</c:v>
                </c:pt>
                <c:pt idx="98">
                  <c:v>18</c:v>
                </c:pt>
                <c:pt idx="99">
                  <c:v>24</c:v>
                </c:pt>
                <c:pt idx="100">
                  <c:v>36</c:v>
                </c:pt>
                <c:pt idx="101">
                  <c:v>26</c:v>
                </c:pt>
                <c:pt idx="102">
                  <c:v>27</c:v>
                </c:pt>
                <c:pt idx="103">
                  <c:v>14</c:v>
                </c:pt>
                <c:pt idx="104">
                  <c:v>39</c:v>
                </c:pt>
                <c:pt idx="105">
                  <c:v>15</c:v>
                </c:pt>
                <c:pt idx="106">
                  <c:v>6</c:v>
                </c:pt>
                <c:pt idx="107">
                  <c:v>30</c:v>
                </c:pt>
                <c:pt idx="108">
                  <c:v>41</c:v>
                </c:pt>
                <c:pt idx="109">
                  <c:v>21</c:v>
                </c:pt>
                <c:pt idx="110">
                  <c:v>5</c:v>
                </c:pt>
                <c:pt idx="111">
                  <c:v>21</c:v>
                </c:pt>
                <c:pt idx="112">
                  <c:v>17</c:v>
                </c:pt>
                <c:pt idx="113">
                  <c:v>19</c:v>
                </c:pt>
                <c:pt idx="114">
                  <c:v>21</c:v>
                </c:pt>
                <c:pt idx="115">
                  <c:v>44</c:v>
                </c:pt>
                <c:pt idx="116">
                  <c:v>25</c:v>
                </c:pt>
                <c:pt idx="117">
                  <c:v>36</c:v>
                </c:pt>
                <c:pt idx="118">
                  <c:v>19</c:v>
                </c:pt>
                <c:pt idx="119">
                  <c:v>14</c:v>
                </c:pt>
                <c:pt idx="120">
                  <c:v>5</c:v>
                </c:pt>
                <c:pt idx="121">
                  <c:v>32</c:v>
                </c:pt>
                <c:pt idx="122">
                  <c:v>31</c:v>
                </c:pt>
                <c:pt idx="123">
                  <c:v>36</c:v>
                </c:pt>
                <c:pt idx="124">
                  <c:v>40</c:v>
                </c:pt>
                <c:pt idx="125">
                  <c:v>35</c:v>
                </c:pt>
                <c:pt idx="126">
                  <c:v>15</c:v>
                </c:pt>
                <c:pt idx="127">
                  <c:v>8</c:v>
                </c:pt>
                <c:pt idx="128">
                  <c:v>52</c:v>
                </c:pt>
                <c:pt idx="129">
                  <c:v>25</c:v>
                </c:pt>
                <c:pt idx="130">
                  <c:v>22</c:v>
                </c:pt>
                <c:pt idx="131">
                  <c:v>13</c:v>
                </c:pt>
                <c:pt idx="132">
                  <c:v>20</c:v>
                </c:pt>
                <c:pt idx="133">
                  <c:v>12</c:v>
                </c:pt>
                <c:pt idx="134">
                  <c:v>15</c:v>
                </c:pt>
                <c:pt idx="135">
                  <c:v>29</c:v>
                </c:pt>
                <c:pt idx="136">
                  <c:v>23</c:v>
                </c:pt>
                <c:pt idx="137">
                  <c:v>38</c:v>
                </c:pt>
                <c:pt idx="138">
                  <c:v>23</c:v>
                </c:pt>
                <c:pt idx="139">
                  <c:v>22</c:v>
                </c:pt>
                <c:pt idx="140">
                  <c:v>7</c:v>
                </c:pt>
                <c:pt idx="141">
                  <c:v>9</c:v>
                </c:pt>
                <c:pt idx="142">
                  <c:v>21</c:v>
                </c:pt>
                <c:pt idx="143">
                  <c:v>12</c:v>
                </c:pt>
                <c:pt idx="144">
                  <c:v>21</c:v>
                </c:pt>
                <c:pt idx="145">
                  <c:v>11</c:v>
                </c:pt>
                <c:pt idx="146">
                  <c:v>8</c:v>
                </c:pt>
                <c:pt idx="147">
                  <c:v>10</c:v>
                </c:pt>
                <c:pt idx="148">
                  <c:v>7</c:v>
                </c:pt>
                <c:pt idx="149">
                  <c:v>22</c:v>
                </c:pt>
                <c:pt idx="150">
                  <c:v>20</c:v>
                </c:pt>
                <c:pt idx="151">
                  <c:v>13</c:v>
                </c:pt>
                <c:pt idx="152">
                  <c:v>20</c:v>
                </c:pt>
                <c:pt idx="153">
                  <c:v>15</c:v>
                </c:pt>
                <c:pt idx="154">
                  <c:v>6</c:v>
                </c:pt>
                <c:pt idx="155">
                  <c:v>5</c:v>
                </c:pt>
                <c:pt idx="156">
                  <c:v>14</c:v>
                </c:pt>
                <c:pt idx="157">
                  <c:v>15</c:v>
                </c:pt>
                <c:pt idx="158">
                  <c:v>16</c:v>
                </c:pt>
                <c:pt idx="159">
                  <c:v>11</c:v>
                </c:pt>
                <c:pt idx="160">
                  <c:v>14</c:v>
                </c:pt>
                <c:pt idx="161">
                  <c:v>2</c:v>
                </c:pt>
                <c:pt idx="162">
                  <c:v>3</c:v>
                </c:pt>
                <c:pt idx="163">
                  <c:v>8</c:v>
                </c:pt>
                <c:pt idx="164">
                  <c:v>7</c:v>
                </c:pt>
                <c:pt idx="165">
                  <c:v>7</c:v>
                </c:pt>
                <c:pt idx="166">
                  <c:v>9</c:v>
                </c:pt>
                <c:pt idx="167">
                  <c:v>6</c:v>
                </c:pt>
                <c:pt idx="168">
                  <c:v>10</c:v>
                </c:pt>
                <c:pt idx="169">
                  <c:v>3</c:v>
                </c:pt>
                <c:pt idx="170">
                  <c:v>21</c:v>
                </c:pt>
                <c:pt idx="171">
                  <c:v>15</c:v>
                </c:pt>
                <c:pt idx="172">
                  <c:v>8</c:v>
                </c:pt>
                <c:pt idx="173">
                  <c:v>11</c:v>
                </c:pt>
                <c:pt idx="174">
                  <c:v>7</c:v>
                </c:pt>
                <c:pt idx="175">
                  <c:v>4</c:v>
                </c:pt>
                <c:pt idx="176">
                  <c:v>1</c:v>
                </c:pt>
                <c:pt idx="177">
                  <c:v>10</c:v>
                </c:pt>
                <c:pt idx="178">
                  <c:v>7</c:v>
                </c:pt>
                <c:pt idx="179">
                  <c:v>8</c:v>
                </c:pt>
                <c:pt idx="180">
                  <c:v>4</c:v>
                </c:pt>
                <c:pt idx="181">
                  <c:v>7</c:v>
                </c:pt>
                <c:pt idx="182">
                  <c:v>2</c:v>
                </c:pt>
                <c:pt idx="183">
                  <c:v>3</c:v>
                </c:pt>
                <c:pt idx="184">
                  <c:v>6</c:v>
                </c:pt>
                <c:pt idx="185">
                  <c:v>8</c:v>
                </c:pt>
                <c:pt idx="186">
                  <c:v>10</c:v>
                </c:pt>
                <c:pt idx="187">
                  <c:v>3</c:v>
                </c:pt>
                <c:pt idx="188">
                  <c:v>5</c:v>
                </c:pt>
                <c:pt idx="189">
                  <c:v>5</c:v>
                </c:pt>
                <c:pt idx="190">
                  <c:v>3</c:v>
                </c:pt>
                <c:pt idx="191">
                  <c:v>9</c:v>
                </c:pt>
                <c:pt idx="192">
                  <c:v>9</c:v>
                </c:pt>
                <c:pt idx="193">
                  <c:v>2</c:v>
                </c:pt>
                <c:pt idx="194">
                  <c:v>8</c:v>
                </c:pt>
                <c:pt idx="195">
                  <c:v>11</c:v>
                </c:pt>
                <c:pt idx="196">
                  <c:v>3</c:v>
                </c:pt>
                <c:pt idx="197">
                  <c:v>2</c:v>
                </c:pt>
                <c:pt idx="198">
                  <c:v>5</c:v>
                </c:pt>
                <c:pt idx="199">
                  <c:v>7</c:v>
                </c:pt>
                <c:pt idx="200">
                  <c:v>3</c:v>
                </c:pt>
                <c:pt idx="201">
                  <c:v>2</c:v>
                </c:pt>
                <c:pt idx="202">
                  <c:v>1</c:v>
                </c:pt>
                <c:pt idx="203">
                  <c:v>2</c:v>
                </c:pt>
                <c:pt idx="204">
                  <c:v>0</c:v>
                </c:pt>
                <c:pt idx="205">
                  <c:v>2</c:v>
                </c:pt>
                <c:pt idx="206">
                  <c:v>1</c:v>
                </c:pt>
                <c:pt idx="207">
                  <c:v>2</c:v>
                </c:pt>
                <c:pt idx="208">
                  <c:v>2</c:v>
                </c:pt>
                <c:pt idx="209">
                  <c:v>1</c:v>
                </c:pt>
                <c:pt idx="210">
                  <c:v>3</c:v>
                </c:pt>
                <c:pt idx="211">
                  <c:v>2</c:v>
                </c:pt>
                <c:pt idx="212">
                  <c:v>0</c:v>
                </c:pt>
                <c:pt idx="213">
                  <c:v>0</c:v>
                </c:pt>
                <c:pt idx="214">
                  <c:v>5</c:v>
                </c:pt>
                <c:pt idx="215">
                  <c:v>0</c:v>
                </c:pt>
                <c:pt idx="216">
                  <c:v>1</c:v>
                </c:pt>
                <c:pt idx="217">
                  <c:v>0</c:v>
                </c:pt>
                <c:pt idx="218">
                  <c:v>0</c:v>
                </c:pt>
                <c:pt idx="219">
                  <c:v>1</c:v>
                </c:pt>
                <c:pt idx="220">
                  <c:v>3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1</c:v>
                </c:pt>
                <c:pt idx="227">
                  <c:v>1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0</c:v>
                </c:pt>
                <c:pt idx="232">
                  <c:v>0</c:v>
                </c:pt>
                <c:pt idx="233">
                  <c:v>4</c:v>
                </c:pt>
                <c:pt idx="234">
                  <c:v>0</c:v>
                </c:pt>
                <c:pt idx="235">
                  <c:v>1</c:v>
                </c:pt>
                <c:pt idx="236">
                  <c:v>0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1</c:v>
                </c:pt>
                <c:pt idx="243">
                  <c:v>0</c:v>
                </c:pt>
                <c:pt idx="244">
                  <c:v>2</c:v>
                </c:pt>
                <c:pt idx="245">
                  <c:v>3</c:v>
                </c:pt>
                <c:pt idx="246">
                  <c:v>1</c:v>
                </c:pt>
                <c:pt idx="247">
                  <c:v>2</c:v>
                </c:pt>
                <c:pt idx="248">
                  <c:v>2</c:v>
                </c:pt>
                <c:pt idx="249">
                  <c:v>1</c:v>
                </c:pt>
                <c:pt idx="250">
                  <c:v>1</c:v>
                </c:pt>
                <c:pt idx="251">
                  <c:v>0</c:v>
                </c:pt>
                <c:pt idx="252">
                  <c:v>2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2</c:v>
                </c:pt>
                <c:pt idx="260">
                  <c:v>1</c:v>
                </c:pt>
                <c:pt idx="261">
                  <c:v>0</c:v>
                </c:pt>
                <c:pt idx="262">
                  <c:v>1</c:v>
                </c:pt>
                <c:pt idx="263">
                  <c:v>1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1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1</c:v>
                </c:pt>
                <c:pt idx="278">
                  <c:v>1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2</c:v>
                </c:pt>
                <c:pt idx="284">
                  <c:v>2</c:v>
                </c:pt>
                <c:pt idx="285">
                  <c:v>1</c:v>
                </c:pt>
                <c:pt idx="286">
                  <c:v>0</c:v>
                </c:pt>
                <c:pt idx="287">
                  <c:v>2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2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1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3</c:v>
                </c:pt>
                <c:pt idx="310">
                  <c:v>1</c:v>
                </c:pt>
                <c:pt idx="311">
                  <c:v>2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3</c:v>
                </c:pt>
                <c:pt idx="316">
                  <c:v>1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4</c:v>
                </c:pt>
                <c:pt idx="321">
                  <c:v>0</c:v>
                </c:pt>
                <c:pt idx="322">
                  <c:v>1</c:v>
                </c:pt>
                <c:pt idx="323">
                  <c:v>0</c:v>
                </c:pt>
                <c:pt idx="324">
                  <c:v>2</c:v>
                </c:pt>
                <c:pt idx="325">
                  <c:v>0</c:v>
                </c:pt>
                <c:pt idx="326">
                  <c:v>0</c:v>
                </c:pt>
                <c:pt idx="327">
                  <c:v>4</c:v>
                </c:pt>
                <c:pt idx="328">
                  <c:v>2</c:v>
                </c:pt>
                <c:pt idx="329">
                  <c:v>2</c:v>
                </c:pt>
                <c:pt idx="330">
                  <c:v>0</c:v>
                </c:pt>
                <c:pt idx="331">
                  <c:v>5</c:v>
                </c:pt>
                <c:pt idx="332">
                  <c:v>3</c:v>
                </c:pt>
                <c:pt idx="333">
                  <c:v>2</c:v>
                </c:pt>
                <c:pt idx="334">
                  <c:v>9</c:v>
                </c:pt>
                <c:pt idx="335">
                  <c:v>6</c:v>
                </c:pt>
                <c:pt idx="336">
                  <c:v>5</c:v>
                </c:pt>
                <c:pt idx="337">
                  <c:v>3</c:v>
                </c:pt>
                <c:pt idx="338">
                  <c:v>6</c:v>
                </c:pt>
                <c:pt idx="339">
                  <c:v>1</c:v>
                </c:pt>
                <c:pt idx="340">
                  <c:v>1</c:v>
                </c:pt>
                <c:pt idx="341">
                  <c:v>5</c:v>
                </c:pt>
                <c:pt idx="342">
                  <c:v>7</c:v>
                </c:pt>
                <c:pt idx="343">
                  <c:v>4</c:v>
                </c:pt>
                <c:pt idx="344">
                  <c:v>6</c:v>
                </c:pt>
                <c:pt idx="345">
                  <c:v>2</c:v>
                </c:pt>
                <c:pt idx="346">
                  <c:v>5</c:v>
                </c:pt>
                <c:pt idx="347">
                  <c:v>2</c:v>
                </c:pt>
                <c:pt idx="348">
                  <c:v>7</c:v>
                </c:pt>
                <c:pt idx="349">
                  <c:v>7</c:v>
                </c:pt>
                <c:pt idx="350">
                  <c:v>6</c:v>
                </c:pt>
                <c:pt idx="351">
                  <c:v>12</c:v>
                </c:pt>
                <c:pt idx="352">
                  <c:v>7</c:v>
                </c:pt>
                <c:pt idx="353">
                  <c:v>3</c:v>
                </c:pt>
                <c:pt idx="354">
                  <c:v>3</c:v>
                </c:pt>
                <c:pt idx="355">
                  <c:v>12</c:v>
                </c:pt>
                <c:pt idx="356">
                  <c:v>5</c:v>
                </c:pt>
                <c:pt idx="357">
                  <c:v>16</c:v>
                </c:pt>
                <c:pt idx="358">
                  <c:v>3</c:v>
                </c:pt>
                <c:pt idx="359">
                  <c:v>8</c:v>
                </c:pt>
                <c:pt idx="360">
                  <c:v>1</c:v>
                </c:pt>
                <c:pt idx="361">
                  <c:v>3</c:v>
                </c:pt>
                <c:pt idx="362">
                  <c:v>7</c:v>
                </c:pt>
                <c:pt idx="363">
                  <c:v>4</c:v>
                </c:pt>
                <c:pt idx="364">
                  <c:v>7</c:v>
                </c:pt>
                <c:pt idx="365">
                  <c:v>6</c:v>
                </c:pt>
                <c:pt idx="366">
                  <c:v>4</c:v>
                </c:pt>
                <c:pt idx="367">
                  <c:v>5</c:v>
                </c:pt>
                <c:pt idx="368">
                  <c:v>3</c:v>
                </c:pt>
                <c:pt idx="369">
                  <c:v>9</c:v>
                </c:pt>
                <c:pt idx="370">
                  <c:v>2</c:v>
                </c:pt>
                <c:pt idx="371">
                  <c:v>6</c:v>
                </c:pt>
                <c:pt idx="372">
                  <c:v>5</c:v>
                </c:pt>
                <c:pt idx="373">
                  <c:v>6</c:v>
                </c:pt>
                <c:pt idx="374">
                  <c:v>2</c:v>
                </c:pt>
                <c:pt idx="375">
                  <c:v>0</c:v>
                </c:pt>
                <c:pt idx="376">
                  <c:v>5</c:v>
                </c:pt>
                <c:pt idx="377">
                  <c:v>2</c:v>
                </c:pt>
                <c:pt idx="378">
                  <c:v>1</c:v>
                </c:pt>
                <c:pt idx="379">
                  <c:v>3</c:v>
                </c:pt>
                <c:pt idx="380">
                  <c:v>3</c:v>
                </c:pt>
                <c:pt idx="381">
                  <c:v>0</c:v>
                </c:pt>
                <c:pt idx="382">
                  <c:v>1</c:v>
                </c:pt>
                <c:pt idx="383">
                  <c:v>6</c:v>
                </c:pt>
                <c:pt idx="384">
                  <c:v>3</c:v>
                </c:pt>
                <c:pt idx="385">
                  <c:v>3</c:v>
                </c:pt>
                <c:pt idx="386">
                  <c:v>1</c:v>
                </c:pt>
                <c:pt idx="387">
                  <c:v>0</c:v>
                </c:pt>
                <c:pt idx="388">
                  <c:v>1</c:v>
                </c:pt>
                <c:pt idx="389">
                  <c:v>0</c:v>
                </c:pt>
                <c:pt idx="390">
                  <c:v>3</c:v>
                </c:pt>
                <c:pt idx="391">
                  <c:v>3</c:v>
                </c:pt>
                <c:pt idx="392">
                  <c:v>3</c:v>
                </c:pt>
                <c:pt idx="393">
                  <c:v>0</c:v>
                </c:pt>
                <c:pt idx="394">
                  <c:v>3</c:v>
                </c:pt>
                <c:pt idx="395">
                  <c:v>1</c:v>
                </c:pt>
                <c:pt idx="396">
                  <c:v>0</c:v>
                </c:pt>
                <c:pt idx="397">
                  <c:v>3</c:v>
                </c:pt>
                <c:pt idx="398">
                  <c:v>1</c:v>
                </c:pt>
                <c:pt idx="399">
                  <c:v>1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1</c:v>
                </c:pt>
                <c:pt idx="404">
                  <c:v>2</c:v>
                </c:pt>
                <c:pt idx="405">
                  <c:v>0</c:v>
                </c:pt>
                <c:pt idx="406">
                  <c:v>1</c:v>
                </c:pt>
                <c:pt idx="407">
                  <c:v>1</c:v>
                </c:pt>
                <c:pt idx="408">
                  <c:v>5</c:v>
                </c:pt>
                <c:pt idx="409">
                  <c:v>0</c:v>
                </c:pt>
                <c:pt idx="410">
                  <c:v>2</c:v>
                </c:pt>
                <c:pt idx="411">
                  <c:v>1</c:v>
                </c:pt>
                <c:pt idx="412">
                  <c:v>3</c:v>
                </c:pt>
                <c:pt idx="413">
                  <c:v>2</c:v>
                </c:pt>
                <c:pt idx="414">
                  <c:v>1</c:v>
                </c:pt>
                <c:pt idx="415">
                  <c:v>2</c:v>
                </c:pt>
                <c:pt idx="416">
                  <c:v>0</c:v>
                </c:pt>
                <c:pt idx="417">
                  <c:v>2</c:v>
                </c:pt>
                <c:pt idx="418">
                  <c:v>5</c:v>
                </c:pt>
                <c:pt idx="419">
                  <c:v>9</c:v>
                </c:pt>
                <c:pt idx="420">
                  <c:v>7</c:v>
                </c:pt>
                <c:pt idx="421">
                  <c:v>1</c:v>
                </c:pt>
                <c:pt idx="42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40874970922984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23</c:f>
              <c:numCache>
                <c:formatCode>m/d/yyyy</c:formatCode>
                <c:ptCount val="422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37</c:v>
                </c:pt>
                <c:pt idx="254">
                  <c:v>44340</c:v>
                </c:pt>
                <c:pt idx="255">
                  <c:v>44341</c:v>
                </c:pt>
                <c:pt idx="256">
                  <c:v>44342</c:v>
                </c:pt>
                <c:pt idx="257">
                  <c:v>44343</c:v>
                </c:pt>
                <c:pt idx="258">
                  <c:v>44349</c:v>
                </c:pt>
                <c:pt idx="259">
                  <c:v>44350</c:v>
                </c:pt>
                <c:pt idx="260">
                  <c:v>44358</c:v>
                </c:pt>
                <c:pt idx="261">
                  <c:v>44364</c:v>
                </c:pt>
                <c:pt idx="262">
                  <c:v>44370</c:v>
                </c:pt>
                <c:pt idx="263">
                  <c:v>44371</c:v>
                </c:pt>
                <c:pt idx="264">
                  <c:v>44377</c:v>
                </c:pt>
                <c:pt idx="265">
                  <c:v>44378</c:v>
                </c:pt>
                <c:pt idx="266">
                  <c:v>44381</c:v>
                </c:pt>
                <c:pt idx="267">
                  <c:v>44385</c:v>
                </c:pt>
                <c:pt idx="268">
                  <c:v>44388</c:v>
                </c:pt>
                <c:pt idx="269">
                  <c:v>44398</c:v>
                </c:pt>
                <c:pt idx="270">
                  <c:v>44401</c:v>
                </c:pt>
                <c:pt idx="271">
                  <c:v>44404</c:v>
                </c:pt>
                <c:pt idx="272">
                  <c:v>44405</c:v>
                </c:pt>
                <c:pt idx="273">
                  <c:v>44416</c:v>
                </c:pt>
                <c:pt idx="274">
                  <c:v>44419</c:v>
                </c:pt>
                <c:pt idx="275">
                  <c:v>44424</c:v>
                </c:pt>
                <c:pt idx="276">
                  <c:v>44425</c:v>
                </c:pt>
                <c:pt idx="277">
                  <c:v>44427</c:v>
                </c:pt>
                <c:pt idx="278">
                  <c:v>44431</c:v>
                </c:pt>
                <c:pt idx="279">
                  <c:v>44434</c:v>
                </c:pt>
                <c:pt idx="280">
                  <c:v>44435</c:v>
                </c:pt>
                <c:pt idx="281">
                  <c:v>44436</c:v>
                </c:pt>
                <c:pt idx="282">
                  <c:v>44440</c:v>
                </c:pt>
                <c:pt idx="283">
                  <c:v>44441</c:v>
                </c:pt>
                <c:pt idx="284">
                  <c:v>44442</c:v>
                </c:pt>
                <c:pt idx="285">
                  <c:v>44443</c:v>
                </c:pt>
                <c:pt idx="286">
                  <c:v>44445</c:v>
                </c:pt>
                <c:pt idx="287">
                  <c:v>44446</c:v>
                </c:pt>
                <c:pt idx="288">
                  <c:v>44447</c:v>
                </c:pt>
                <c:pt idx="289">
                  <c:v>44448</c:v>
                </c:pt>
                <c:pt idx="290">
                  <c:v>44451</c:v>
                </c:pt>
                <c:pt idx="291">
                  <c:v>44452</c:v>
                </c:pt>
                <c:pt idx="292">
                  <c:v>44453</c:v>
                </c:pt>
                <c:pt idx="293">
                  <c:v>44457</c:v>
                </c:pt>
                <c:pt idx="294">
                  <c:v>44459</c:v>
                </c:pt>
                <c:pt idx="295">
                  <c:v>44460</c:v>
                </c:pt>
                <c:pt idx="296">
                  <c:v>44461</c:v>
                </c:pt>
                <c:pt idx="297">
                  <c:v>44464</c:v>
                </c:pt>
                <c:pt idx="298">
                  <c:v>44465</c:v>
                </c:pt>
                <c:pt idx="299">
                  <c:v>44466</c:v>
                </c:pt>
                <c:pt idx="300">
                  <c:v>44467</c:v>
                </c:pt>
                <c:pt idx="301">
                  <c:v>44468</c:v>
                </c:pt>
                <c:pt idx="302">
                  <c:v>44469</c:v>
                </c:pt>
                <c:pt idx="303">
                  <c:v>44470</c:v>
                </c:pt>
                <c:pt idx="304">
                  <c:v>44471</c:v>
                </c:pt>
                <c:pt idx="305">
                  <c:v>44472</c:v>
                </c:pt>
                <c:pt idx="306">
                  <c:v>44473</c:v>
                </c:pt>
                <c:pt idx="307">
                  <c:v>44474</c:v>
                </c:pt>
                <c:pt idx="308">
                  <c:v>44475</c:v>
                </c:pt>
                <c:pt idx="309">
                  <c:v>44476</c:v>
                </c:pt>
                <c:pt idx="310">
                  <c:v>44477</c:v>
                </c:pt>
                <c:pt idx="311">
                  <c:v>44478</c:v>
                </c:pt>
                <c:pt idx="312">
                  <c:v>44480</c:v>
                </c:pt>
                <c:pt idx="313">
                  <c:v>44481</c:v>
                </c:pt>
                <c:pt idx="314">
                  <c:v>44482</c:v>
                </c:pt>
                <c:pt idx="315">
                  <c:v>44483</c:v>
                </c:pt>
                <c:pt idx="316">
                  <c:v>44484</c:v>
                </c:pt>
                <c:pt idx="317">
                  <c:v>44485</c:v>
                </c:pt>
                <c:pt idx="318">
                  <c:v>44486</c:v>
                </c:pt>
                <c:pt idx="319">
                  <c:v>44487</c:v>
                </c:pt>
                <c:pt idx="320">
                  <c:v>44488</c:v>
                </c:pt>
                <c:pt idx="321">
                  <c:v>44489</c:v>
                </c:pt>
                <c:pt idx="322">
                  <c:v>44490</c:v>
                </c:pt>
                <c:pt idx="323">
                  <c:v>44491</c:v>
                </c:pt>
                <c:pt idx="324">
                  <c:v>44492</c:v>
                </c:pt>
                <c:pt idx="325">
                  <c:v>44493</c:v>
                </c:pt>
                <c:pt idx="326">
                  <c:v>44494</c:v>
                </c:pt>
                <c:pt idx="327">
                  <c:v>44495</c:v>
                </c:pt>
                <c:pt idx="328">
                  <c:v>44496</c:v>
                </c:pt>
                <c:pt idx="329">
                  <c:v>44497</c:v>
                </c:pt>
                <c:pt idx="330">
                  <c:v>44498</c:v>
                </c:pt>
                <c:pt idx="331">
                  <c:v>44499</c:v>
                </c:pt>
                <c:pt idx="332">
                  <c:v>44500</c:v>
                </c:pt>
                <c:pt idx="333">
                  <c:v>44501</c:v>
                </c:pt>
                <c:pt idx="334">
                  <c:v>44502</c:v>
                </c:pt>
                <c:pt idx="335">
                  <c:v>44503</c:v>
                </c:pt>
                <c:pt idx="336">
                  <c:v>44504</c:v>
                </c:pt>
                <c:pt idx="337">
                  <c:v>44505</c:v>
                </c:pt>
                <c:pt idx="338">
                  <c:v>44506</c:v>
                </c:pt>
                <c:pt idx="339">
                  <c:v>44507</c:v>
                </c:pt>
                <c:pt idx="340">
                  <c:v>44508</c:v>
                </c:pt>
                <c:pt idx="341">
                  <c:v>44509</c:v>
                </c:pt>
                <c:pt idx="342">
                  <c:v>44510</c:v>
                </c:pt>
                <c:pt idx="343">
                  <c:v>44511</c:v>
                </c:pt>
                <c:pt idx="344">
                  <c:v>44512</c:v>
                </c:pt>
                <c:pt idx="345">
                  <c:v>44513</c:v>
                </c:pt>
                <c:pt idx="346">
                  <c:v>44514</c:v>
                </c:pt>
                <c:pt idx="347">
                  <c:v>44515</c:v>
                </c:pt>
                <c:pt idx="348">
                  <c:v>44516</c:v>
                </c:pt>
                <c:pt idx="349">
                  <c:v>44517</c:v>
                </c:pt>
                <c:pt idx="350">
                  <c:v>44518</c:v>
                </c:pt>
                <c:pt idx="351">
                  <c:v>44519</c:v>
                </c:pt>
                <c:pt idx="352">
                  <c:v>44520</c:v>
                </c:pt>
                <c:pt idx="353">
                  <c:v>44521</c:v>
                </c:pt>
                <c:pt idx="354">
                  <c:v>44522</c:v>
                </c:pt>
                <c:pt idx="355">
                  <c:v>44523</c:v>
                </c:pt>
                <c:pt idx="356">
                  <c:v>44524</c:v>
                </c:pt>
                <c:pt idx="357">
                  <c:v>44525</c:v>
                </c:pt>
                <c:pt idx="358">
                  <c:v>44526</c:v>
                </c:pt>
                <c:pt idx="359">
                  <c:v>44527</c:v>
                </c:pt>
                <c:pt idx="360">
                  <c:v>44528</c:v>
                </c:pt>
                <c:pt idx="361">
                  <c:v>44529</c:v>
                </c:pt>
                <c:pt idx="362">
                  <c:v>44530</c:v>
                </c:pt>
                <c:pt idx="363">
                  <c:v>44531</c:v>
                </c:pt>
                <c:pt idx="364">
                  <c:v>44532</c:v>
                </c:pt>
                <c:pt idx="365">
                  <c:v>44533</c:v>
                </c:pt>
                <c:pt idx="366">
                  <c:v>44534</c:v>
                </c:pt>
                <c:pt idx="367">
                  <c:v>44535</c:v>
                </c:pt>
                <c:pt idx="368">
                  <c:v>44536</c:v>
                </c:pt>
                <c:pt idx="369">
                  <c:v>44537</c:v>
                </c:pt>
                <c:pt idx="370">
                  <c:v>44538</c:v>
                </c:pt>
                <c:pt idx="371">
                  <c:v>44539</c:v>
                </c:pt>
                <c:pt idx="372">
                  <c:v>44540</c:v>
                </c:pt>
                <c:pt idx="373">
                  <c:v>44541</c:v>
                </c:pt>
                <c:pt idx="374">
                  <c:v>44542</c:v>
                </c:pt>
                <c:pt idx="375">
                  <c:v>44543</c:v>
                </c:pt>
                <c:pt idx="376">
                  <c:v>44544</c:v>
                </c:pt>
                <c:pt idx="377">
                  <c:v>44545</c:v>
                </c:pt>
                <c:pt idx="378">
                  <c:v>44546</c:v>
                </c:pt>
                <c:pt idx="379">
                  <c:v>44547</c:v>
                </c:pt>
                <c:pt idx="380">
                  <c:v>44548</c:v>
                </c:pt>
                <c:pt idx="381">
                  <c:v>44549</c:v>
                </c:pt>
                <c:pt idx="382">
                  <c:v>44550</c:v>
                </c:pt>
                <c:pt idx="383">
                  <c:v>44551</c:v>
                </c:pt>
                <c:pt idx="384">
                  <c:v>44552</c:v>
                </c:pt>
                <c:pt idx="385">
                  <c:v>44553</c:v>
                </c:pt>
                <c:pt idx="386">
                  <c:v>44554</c:v>
                </c:pt>
                <c:pt idx="387">
                  <c:v>44555</c:v>
                </c:pt>
                <c:pt idx="388">
                  <c:v>44556</c:v>
                </c:pt>
                <c:pt idx="389">
                  <c:v>44557</c:v>
                </c:pt>
                <c:pt idx="390">
                  <c:v>44558</c:v>
                </c:pt>
                <c:pt idx="391">
                  <c:v>44559</c:v>
                </c:pt>
                <c:pt idx="392">
                  <c:v>44560</c:v>
                </c:pt>
                <c:pt idx="393">
                  <c:v>44561</c:v>
                </c:pt>
                <c:pt idx="394">
                  <c:v>44562</c:v>
                </c:pt>
                <c:pt idx="395">
                  <c:v>44563</c:v>
                </c:pt>
                <c:pt idx="396">
                  <c:v>44564</c:v>
                </c:pt>
                <c:pt idx="397">
                  <c:v>44565</c:v>
                </c:pt>
                <c:pt idx="398">
                  <c:v>44566</c:v>
                </c:pt>
                <c:pt idx="399">
                  <c:v>44567</c:v>
                </c:pt>
                <c:pt idx="400">
                  <c:v>44568</c:v>
                </c:pt>
                <c:pt idx="401">
                  <c:v>44569</c:v>
                </c:pt>
                <c:pt idx="402">
                  <c:v>44570</c:v>
                </c:pt>
                <c:pt idx="403">
                  <c:v>44571</c:v>
                </c:pt>
                <c:pt idx="404">
                  <c:v>44572</c:v>
                </c:pt>
                <c:pt idx="405">
                  <c:v>44573</c:v>
                </c:pt>
                <c:pt idx="406">
                  <c:v>44574</c:v>
                </c:pt>
                <c:pt idx="407">
                  <c:v>44575</c:v>
                </c:pt>
                <c:pt idx="408">
                  <c:v>44576</c:v>
                </c:pt>
                <c:pt idx="409">
                  <c:v>44577</c:v>
                </c:pt>
                <c:pt idx="410">
                  <c:v>44578</c:v>
                </c:pt>
                <c:pt idx="411">
                  <c:v>44579</c:v>
                </c:pt>
                <c:pt idx="412">
                  <c:v>44580</c:v>
                </c:pt>
                <c:pt idx="413">
                  <c:v>44581</c:v>
                </c:pt>
                <c:pt idx="414">
                  <c:v>44582</c:v>
                </c:pt>
                <c:pt idx="415">
                  <c:v>44583</c:v>
                </c:pt>
                <c:pt idx="416">
                  <c:v>44584</c:v>
                </c:pt>
                <c:pt idx="417">
                  <c:v>44585</c:v>
                </c:pt>
                <c:pt idx="418">
                  <c:v>44586</c:v>
                </c:pt>
                <c:pt idx="419">
                  <c:v>44587</c:v>
                </c:pt>
                <c:pt idx="420">
                  <c:v>44588</c:v>
                </c:pt>
                <c:pt idx="421">
                  <c:v>44589</c:v>
                </c:pt>
              </c:numCache>
            </c:numRef>
          </c:cat>
          <c:val>
            <c:numRef>
              <c:f>Sheet1!$B$2:$B$423</c:f>
              <c:numCache>
                <c:formatCode>General</c:formatCode>
                <c:ptCount val="42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  <c:pt idx="24">
                  <c:v>4</c:v>
                </c:pt>
                <c:pt idx="25">
                  <c:v>4</c:v>
                </c:pt>
                <c:pt idx="26">
                  <c:v>7</c:v>
                </c:pt>
                <c:pt idx="27">
                  <c:v>5</c:v>
                </c:pt>
                <c:pt idx="28">
                  <c:v>5</c:v>
                </c:pt>
                <c:pt idx="29">
                  <c:v>23</c:v>
                </c:pt>
                <c:pt idx="30">
                  <c:v>8</c:v>
                </c:pt>
                <c:pt idx="31">
                  <c:v>7</c:v>
                </c:pt>
                <c:pt idx="32">
                  <c:v>2</c:v>
                </c:pt>
                <c:pt idx="33">
                  <c:v>7</c:v>
                </c:pt>
                <c:pt idx="34">
                  <c:v>3</c:v>
                </c:pt>
                <c:pt idx="35">
                  <c:v>0</c:v>
                </c:pt>
                <c:pt idx="36">
                  <c:v>8</c:v>
                </c:pt>
                <c:pt idx="37">
                  <c:v>13</c:v>
                </c:pt>
                <c:pt idx="38">
                  <c:v>13</c:v>
                </c:pt>
                <c:pt idx="39">
                  <c:v>15</c:v>
                </c:pt>
                <c:pt idx="40">
                  <c:v>18</c:v>
                </c:pt>
                <c:pt idx="41">
                  <c:v>9</c:v>
                </c:pt>
                <c:pt idx="42">
                  <c:v>5</c:v>
                </c:pt>
                <c:pt idx="43">
                  <c:v>18</c:v>
                </c:pt>
                <c:pt idx="44">
                  <c:v>14</c:v>
                </c:pt>
                <c:pt idx="45">
                  <c:v>21</c:v>
                </c:pt>
                <c:pt idx="46">
                  <c:v>18</c:v>
                </c:pt>
                <c:pt idx="47">
                  <c:v>28</c:v>
                </c:pt>
                <c:pt idx="48">
                  <c:v>7</c:v>
                </c:pt>
                <c:pt idx="49">
                  <c:v>7</c:v>
                </c:pt>
                <c:pt idx="50">
                  <c:v>28</c:v>
                </c:pt>
                <c:pt idx="51">
                  <c:v>18</c:v>
                </c:pt>
                <c:pt idx="52">
                  <c:v>11</c:v>
                </c:pt>
                <c:pt idx="53">
                  <c:v>20</c:v>
                </c:pt>
                <c:pt idx="54">
                  <c:v>27</c:v>
                </c:pt>
                <c:pt idx="55">
                  <c:v>9</c:v>
                </c:pt>
                <c:pt idx="56">
                  <c:v>14</c:v>
                </c:pt>
                <c:pt idx="57">
                  <c:v>15</c:v>
                </c:pt>
                <c:pt idx="58">
                  <c:v>13</c:v>
                </c:pt>
                <c:pt idx="59">
                  <c:v>21</c:v>
                </c:pt>
                <c:pt idx="60">
                  <c:v>9</c:v>
                </c:pt>
                <c:pt idx="61">
                  <c:v>16</c:v>
                </c:pt>
                <c:pt idx="62">
                  <c:v>10</c:v>
                </c:pt>
                <c:pt idx="63">
                  <c:v>6</c:v>
                </c:pt>
                <c:pt idx="64">
                  <c:v>10</c:v>
                </c:pt>
                <c:pt idx="65">
                  <c:v>16</c:v>
                </c:pt>
                <c:pt idx="66">
                  <c:v>25</c:v>
                </c:pt>
                <c:pt idx="67">
                  <c:v>14</c:v>
                </c:pt>
                <c:pt idx="68">
                  <c:v>19</c:v>
                </c:pt>
                <c:pt idx="69">
                  <c:v>9</c:v>
                </c:pt>
                <c:pt idx="70">
                  <c:v>4</c:v>
                </c:pt>
                <c:pt idx="71">
                  <c:v>18</c:v>
                </c:pt>
                <c:pt idx="72">
                  <c:v>9</c:v>
                </c:pt>
                <c:pt idx="73">
                  <c:v>12</c:v>
                </c:pt>
                <c:pt idx="74">
                  <c:v>12</c:v>
                </c:pt>
                <c:pt idx="75">
                  <c:v>13</c:v>
                </c:pt>
                <c:pt idx="76">
                  <c:v>4</c:v>
                </c:pt>
                <c:pt idx="77">
                  <c:v>3</c:v>
                </c:pt>
                <c:pt idx="78">
                  <c:v>15</c:v>
                </c:pt>
                <c:pt idx="79">
                  <c:v>9</c:v>
                </c:pt>
                <c:pt idx="80">
                  <c:v>8</c:v>
                </c:pt>
                <c:pt idx="81">
                  <c:v>9</c:v>
                </c:pt>
                <c:pt idx="82">
                  <c:v>5</c:v>
                </c:pt>
                <c:pt idx="83">
                  <c:v>1</c:v>
                </c:pt>
                <c:pt idx="84">
                  <c:v>2</c:v>
                </c:pt>
                <c:pt idx="85">
                  <c:v>10</c:v>
                </c:pt>
                <c:pt idx="86">
                  <c:v>9</c:v>
                </c:pt>
                <c:pt idx="87">
                  <c:v>5</c:v>
                </c:pt>
                <c:pt idx="88">
                  <c:v>2</c:v>
                </c:pt>
                <c:pt idx="89">
                  <c:v>8</c:v>
                </c:pt>
                <c:pt idx="90">
                  <c:v>2</c:v>
                </c:pt>
                <c:pt idx="91">
                  <c:v>1</c:v>
                </c:pt>
                <c:pt idx="92">
                  <c:v>3</c:v>
                </c:pt>
                <c:pt idx="93">
                  <c:v>4</c:v>
                </c:pt>
                <c:pt idx="94">
                  <c:v>6</c:v>
                </c:pt>
                <c:pt idx="95">
                  <c:v>5</c:v>
                </c:pt>
                <c:pt idx="96">
                  <c:v>6</c:v>
                </c:pt>
                <c:pt idx="97">
                  <c:v>3</c:v>
                </c:pt>
                <c:pt idx="98">
                  <c:v>3</c:v>
                </c:pt>
                <c:pt idx="99">
                  <c:v>4</c:v>
                </c:pt>
                <c:pt idx="100">
                  <c:v>3</c:v>
                </c:pt>
                <c:pt idx="101">
                  <c:v>6</c:v>
                </c:pt>
                <c:pt idx="102">
                  <c:v>3</c:v>
                </c:pt>
                <c:pt idx="103">
                  <c:v>7</c:v>
                </c:pt>
                <c:pt idx="104">
                  <c:v>6</c:v>
                </c:pt>
                <c:pt idx="105">
                  <c:v>1</c:v>
                </c:pt>
                <c:pt idx="106">
                  <c:v>5</c:v>
                </c:pt>
                <c:pt idx="107">
                  <c:v>10</c:v>
                </c:pt>
                <c:pt idx="108">
                  <c:v>2</c:v>
                </c:pt>
                <c:pt idx="109">
                  <c:v>1</c:v>
                </c:pt>
                <c:pt idx="110">
                  <c:v>6</c:v>
                </c:pt>
                <c:pt idx="111">
                  <c:v>5</c:v>
                </c:pt>
                <c:pt idx="112">
                  <c:v>7</c:v>
                </c:pt>
                <c:pt idx="113">
                  <c:v>4</c:v>
                </c:pt>
                <c:pt idx="114">
                  <c:v>6</c:v>
                </c:pt>
                <c:pt idx="115">
                  <c:v>8</c:v>
                </c:pt>
                <c:pt idx="116">
                  <c:v>7</c:v>
                </c:pt>
                <c:pt idx="117">
                  <c:v>4</c:v>
                </c:pt>
                <c:pt idx="118">
                  <c:v>5</c:v>
                </c:pt>
                <c:pt idx="119">
                  <c:v>1</c:v>
                </c:pt>
                <c:pt idx="120">
                  <c:v>9</c:v>
                </c:pt>
                <c:pt idx="121">
                  <c:v>5</c:v>
                </c:pt>
                <c:pt idx="122">
                  <c:v>4</c:v>
                </c:pt>
                <c:pt idx="123">
                  <c:v>7</c:v>
                </c:pt>
                <c:pt idx="124">
                  <c:v>8</c:v>
                </c:pt>
                <c:pt idx="125">
                  <c:v>3</c:v>
                </c:pt>
                <c:pt idx="126">
                  <c:v>2</c:v>
                </c:pt>
                <c:pt idx="127">
                  <c:v>7</c:v>
                </c:pt>
                <c:pt idx="128">
                  <c:v>4</c:v>
                </c:pt>
                <c:pt idx="129">
                  <c:v>3</c:v>
                </c:pt>
                <c:pt idx="130">
                  <c:v>3</c:v>
                </c:pt>
                <c:pt idx="131">
                  <c:v>12</c:v>
                </c:pt>
                <c:pt idx="132">
                  <c:v>4</c:v>
                </c:pt>
                <c:pt idx="133">
                  <c:v>2</c:v>
                </c:pt>
                <c:pt idx="134">
                  <c:v>5</c:v>
                </c:pt>
                <c:pt idx="135">
                  <c:v>4</c:v>
                </c:pt>
                <c:pt idx="136">
                  <c:v>8</c:v>
                </c:pt>
                <c:pt idx="137">
                  <c:v>5</c:v>
                </c:pt>
                <c:pt idx="138">
                  <c:v>5</c:v>
                </c:pt>
                <c:pt idx="139">
                  <c:v>0</c:v>
                </c:pt>
                <c:pt idx="140">
                  <c:v>3</c:v>
                </c:pt>
                <c:pt idx="141">
                  <c:v>7</c:v>
                </c:pt>
                <c:pt idx="142">
                  <c:v>1</c:v>
                </c:pt>
                <c:pt idx="143">
                  <c:v>2</c:v>
                </c:pt>
                <c:pt idx="144">
                  <c:v>2</c:v>
                </c:pt>
                <c:pt idx="145">
                  <c:v>1</c:v>
                </c:pt>
                <c:pt idx="146">
                  <c:v>2</c:v>
                </c:pt>
                <c:pt idx="147">
                  <c:v>1</c:v>
                </c:pt>
                <c:pt idx="148">
                  <c:v>3</c:v>
                </c:pt>
                <c:pt idx="149">
                  <c:v>3</c:v>
                </c:pt>
                <c:pt idx="150">
                  <c:v>2</c:v>
                </c:pt>
                <c:pt idx="151">
                  <c:v>4</c:v>
                </c:pt>
                <c:pt idx="152">
                  <c:v>2</c:v>
                </c:pt>
                <c:pt idx="153">
                  <c:v>4</c:v>
                </c:pt>
                <c:pt idx="154">
                  <c:v>1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3</c:v>
                </c:pt>
                <c:pt idx="159">
                  <c:v>3</c:v>
                </c:pt>
                <c:pt idx="160">
                  <c:v>0</c:v>
                </c:pt>
                <c:pt idx="161">
                  <c:v>0</c:v>
                </c:pt>
                <c:pt idx="162">
                  <c:v>2</c:v>
                </c:pt>
                <c:pt idx="163">
                  <c:v>2</c:v>
                </c:pt>
                <c:pt idx="164">
                  <c:v>3</c:v>
                </c:pt>
                <c:pt idx="165">
                  <c:v>2</c:v>
                </c:pt>
                <c:pt idx="166">
                  <c:v>0</c:v>
                </c:pt>
                <c:pt idx="167">
                  <c:v>6</c:v>
                </c:pt>
                <c:pt idx="168">
                  <c:v>0</c:v>
                </c:pt>
                <c:pt idx="169">
                  <c:v>1</c:v>
                </c:pt>
                <c:pt idx="170">
                  <c:v>4</c:v>
                </c:pt>
                <c:pt idx="171">
                  <c:v>1</c:v>
                </c:pt>
                <c:pt idx="172">
                  <c:v>0</c:v>
                </c:pt>
                <c:pt idx="173">
                  <c:v>1</c:v>
                </c:pt>
                <c:pt idx="174">
                  <c:v>1</c:v>
                </c:pt>
                <c:pt idx="175">
                  <c:v>0</c:v>
                </c:pt>
                <c:pt idx="176">
                  <c:v>2</c:v>
                </c:pt>
                <c:pt idx="177">
                  <c:v>4</c:v>
                </c:pt>
                <c:pt idx="178">
                  <c:v>1</c:v>
                </c:pt>
                <c:pt idx="179">
                  <c:v>1</c:v>
                </c:pt>
                <c:pt idx="180">
                  <c:v>2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2</c:v>
                </c:pt>
                <c:pt idx="185">
                  <c:v>4</c:v>
                </c:pt>
                <c:pt idx="186">
                  <c:v>1</c:v>
                </c:pt>
                <c:pt idx="187">
                  <c:v>0</c:v>
                </c:pt>
                <c:pt idx="188">
                  <c:v>1</c:v>
                </c:pt>
                <c:pt idx="189">
                  <c:v>1</c:v>
                </c:pt>
                <c:pt idx="190">
                  <c:v>0</c:v>
                </c:pt>
                <c:pt idx="191">
                  <c:v>2</c:v>
                </c:pt>
                <c:pt idx="192">
                  <c:v>1</c:v>
                </c:pt>
                <c:pt idx="193">
                  <c:v>3</c:v>
                </c:pt>
                <c:pt idx="194">
                  <c:v>0</c:v>
                </c:pt>
                <c:pt idx="195">
                  <c:v>1</c:v>
                </c:pt>
                <c:pt idx="196">
                  <c:v>1</c:v>
                </c:pt>
                <c:pt idx="197">
                  <c:v>1</c:v>
                </c:pt>
                <c:pt idx="198">
                  <c:v>1</c:v>
                </c:pt>
                <c:pt idx="199">
                  <c:v>1</c:v>
                </c:pt>
                <c:pt idx="200">
                  <c:v>1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1</c:v>
                </c:pt>
                <c:pt idx="206">
                  <c:v>1</c:v>
                </c:pt>
                <c:pt idx="207">
                  <c:v>0</c:v>
                </c:pt>
                <c:pt idx="208">
                  <c:v>0</c:v>
                </c:pt>
                <c:pt idx="209">
                  <c:v>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2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2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1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1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1</c:v>
                </c:pt>
                <c:pt idx="309">
                  <c:v>1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1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3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1</c:v>
                </c:pt>
                <c:pt idx="331">
                  <c:v>0</c:v>
                </c:pt>
                <c:pt idx="332">
                  <c:v>1</c:v>
                </c:pt>
                <c:pt idx="333">
                  <c:v>2</c:v>
                </c:pt>
                <c:pt idx="334">
                  <c:v>1</c:v>
                </c:pt>
                <c:pt idx="335">
                  <c:v>1</c:v>
                </c:pt>
                <c:pt idx="336">
                  <c:v>0</c:v>
                </c:pt>
                <c:pt idx="337">
                  <c:v>1</c:v>
                </c:pt>
                <c:pt idx="338">
                  <c:v>0</c:v>
                </c:pt>
                <c:pt idx="339">
                  <c:v>1</c:v>
                </c:pt>
                <c:pt idx="340">
                  <c:v>0</c:v>
                </c:pt>
                <c:pt idx="341">
                  <c:v>3</c:v>
                </c:pt>
                <c:pt idx="342">
                  <c:v>0</c:v>
                </c:pt>
                <c:pt idx="343">
                  <c:v>1</c:v>
                </c:pt>
                <c:pt idx="344">
                  <c:v>0</c:v>
                </c:pt>
                <c:pt idx="345">
                  <c:v>2</c:v>
                </c:pt>
                <c:pt idx="346">
                  <c:v>2</c:v>
                </c:pt>
                <c:pt idx="347">
                  <c:v>1</c:v>
                </c:pt>
                <c:pt idx="348">
                  <c:v>1</c:v>
                </c:pt>
                <c:pt idx="349">
                  <c:v>0</c:v>
                </c:pt>
                <c:pt idx="350">
                  <c:v>6</c:v>
                </c:pt>
                <c:pt idx="351">
                  <c:v>3</c:v>
                </c:pt>
                <c:pt idx="352">
                  <c:v>1</c:v>
                </c:pt>
                <c:pt idx="353">
                  <c:v>2</c:v>
                </c:pt>
                <c:pt idx="354">
                  <c:v>2</c:v>
                </c:pt>
                <c:pt idx="355">
                  <c:v>0</c:v>
                </c:pt>
                <c:pt idx="356">
                  <c:v>5</c:v>
                </c:pt>
                <c:pt idx="357">
                  <c:v>0</c:v>
                </c:pt>
                <c:pt idx="358">
                  <c:v>1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1</c:v>
                </c:pt>
                <c:pt idx="365">
                  <c:v>0</c:v>
                </c:pt>
                <c:pt idx="366">
                  <c:v>0</c:v>
                </c:pt>
                <c:pt idx="367">
                  <c:v>1</c:v>
                </c:pt>
                <c:pt idx="368">
                  <c:v>1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1</c:v>
                </c:pt>
                <c:pt idx="380">
                  <c:v>0</c:v>
                </c:pt>
                <c:pt idx="381">
                  <c:v>0</c:v>
                </c:pt>
                <c:pt idx="382">
                  <c:v>2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1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1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3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3</c:v>
                </c:pt>
                <c:pt idx="420">
                  <c:v>0</c:v>
                </c:pt>
                <c:pt idx="4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13</c:v>
                </c:pt>
                <c:pt idx="1">
                  <c:v>90</c:v>
                </c:pt>
                <c:pt idx="2">
                  <c:v>107</c:v>
                </c:pt>
                <c:pt idx="3">
                  <c:v>119</c:v>
                </c:pt>
                <c:pt idx="4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11.–
5.12.</c:v>
                </c:pt>
                <c:pt idx="1">
                  <c:v>6.12.–
12.12.</c:v>
                </c:pt>
                <c:pt idx="2">
                  <c:v>13.12.–
19.12.</c:v>
                </c:pt>
                <c:pt idx="3">
                  <c:v>20.12.–
26.12.</c:v>
                </c:pt>
                <c:pt idx="4">
                  <c:v>27.12.–
2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05</c:v>
                </c:pt>
                <c:pt idx="1">
                  <c:v>173</c:v>
                </c:pt>
                <c:pt idx="2">
                  <c:v>106</c:v>
                </c:pt>
                <c:pt idx="3">
                  <c:v>70</c:v>
                </c:pt>
                <c:pt idx="4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12.–
2.1.</c:v>
                </c:pt>
                <c:pt idx="1">
                  <c:v>3.1.–
9.1.</c:v>
                </c:pt>
                <c:pt idx="2">
                  <c:v>10.1.–
16.1.</c:v>
                </c:pt>
                <c:pt idx="3">
                  <c:v>17.1.–
23.1.</c:v>
                </c:pt>
                <c:pt idx="4">
                  <c:v>24.1.–
30.1.</c:v>
                </c:pt>
                <c:pt idx="5">
                  <c:v>31.1.–
6.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4</c:v>
                </c:pt>
                <c:pt idx="1">
                  <c:v>46</c:v>
                </c:pt>
                <c:pt idx="2">
                  <c:v>28</c:v>
                </c:pt>
                <c:pt idx="3">
                  <c:v>191</c:v>
                </c:pt>
                <c:pt idx="4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780126802944675</c:v>
                </c:pt>
                <c:pt idx="1">
                  <c:v>0.18219873197055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75525635333141794</c:v>
                </c:pt>
                <c:pt idx="1">
                  <c:v>0.244743646668582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29351597816452135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0.19018843929624771"/>
                  <c:y val="9.51762091785217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62741657248230331</c:v>
                </c:pt>
                <c:pt idx="1">
                  <c:v>0.372583427517696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69548318013044264</c:v>
                </c:pt>
                <c:pt idx="1">
                  <c:v>0.30451681986955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30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30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6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chart" Target="../charts/chart9.xml"/><Relationship Id="rId5" Type="http://schemas.openxmlformats.org/officeDocument/2006/relationships/tags" Target="../tags/tag15.xml"/><Relationship Id="rId10" Type="http://schemas.openxmlformats.org/officeDocument/2006/relationships/chart" Target="../charts/chart8.xml"/><Relationship Id="rId4" Type="http://schemas.openxmlformats.org/officeDocument/2006/relationships/tags" Target="../tags/tag14.xml"/><Relationship Id="rId9" Type="http://schemas.openxmlformats.org/officeDocument/2006/relationships/chart" Target="../charts/char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chart" Target="../charts/chart1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chart" Target="../charts/chart11.xml"/><Relationship Id="rId5" Type="http://schemas.openxmlformats.org/officeDocument/2006/relationships/tags" Target="../tags/tag22.xml"/><Relationship Id="rId10" Type="http://schemas.openxmlformats.org/officeDocument/2006/relationships/chart" Target="../charts/chart10.xml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chart" Target="../charts/chart2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2. – 31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266196"/>
              </p:ext>
            </p:extLst>
          </p:nvPr>
        </p:nvGraphicFramePr>
        <p:xfrm>
          <a:off x="1372685" y="1009673"/>
          <a:ext cx="9684753" cy="538161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192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 srdci klíč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orní Bran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pečovatelský dům U Jakuba II, Červený Koste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humanity - Azylový dů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orav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y RUAH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UMORAVY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ASVIZ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Dolní Počer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 Nemocnice Vi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Loucký Mlý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885821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87299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VATAVA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143495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980781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CPS Vodň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45884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ZAŠOVÁ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9612077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GAPO Bruntá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835001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Šluknov-Krásná Lípa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902963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verka Jiř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4353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29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9. 1. 2022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3000465"/>
              </p:ext>
            </p:extLst>
          </p:nvPr>
        </p:nvGraphicFramePr>
        <p:xfrm>
          <a:off x="1372685" y="1009673"/>
          <a:ext cx="9684753" cy="541971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628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Dač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Ječmínek 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s.Zdisl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Ludmil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u Agá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U Vršovického nádraží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Vlaš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oused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chy Kůs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AMICA 3 -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ršovická zdravotní, rehabilita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ALMEZ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írens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zrakově postižené Palata, Praha 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ETRA Mač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Hedviky Kravař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 Mnichovo Hrad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D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6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AVOROVA K. VARY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ZBORIVIC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1804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OTROK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79750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583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37831" y="622249"/>
            <a:ext cx="113270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o šíření nákazy v pobytových sociálních službách je ze strany poskytovatelů reprezentativní, celý systém dosahuje více než 81% pokrytí tohoto segmentu péče. Za celé období sledování od podzimu 2020 bylo registrováno přes 24 500 nakažených klientů a více než 17 500 nakažených pracovníků. Hlášení o úmrtích COVID pozitivních klientů přesáhlo 3 400, pracovníků zemřelo 21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53656" y="194887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237830" y="2483419"/>
            <a:ext cx="11687470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byl z těchto individuálních hlášení patrný nárůst počtu nakažených ve srovná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říjnem 2021. Tato data tedy nezávisle potvrzují nálezy zjištěné epidemiologickými šetřeními ze strany KHS. Za měsíc listopad bylo nahlášeno 949 nákaz pracovníků a 818 nákaz klientů pobytových sociálních služeb. Počet hlášených úmrtí klientů dosáhnul v listopadu hodnoty 112. Ačkoli šlo o výrazný nárůst, stále se jednalo o počty významně nižší než v zimních až jarních měsících 2021. Za prosinec bylo dosud na bázi přímého hlášení od poskytovatelů sociálních služeb registrováno 571 nákaz u personálu a 403 nákaz u klientů. Celkem 70 nakažených klientů zemřelo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5B31F110-680C-4708-9C37-E3C235162FCA}"/>
              </a:ext>
            </a:extLst>
          </p:cNvPr>
          <p:cNvSpPr/>
          <p:nvPr/>
        </p:nvSpPr>
        <p:spPr>
          <a:xfrm>
            <a:off x="5353656" y="496776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57E8C22-BEEA-45FF-855F-3C6D2A9851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33349" y="5631707"/>
            <a:ext cx="1157858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ednu bylo dosud nahlášeno 804 případů nákazy personálu a 353 klientů, z nichž 26 zemřelo. Počty případů s těžkým průběhem nákazy, zejména vyžadujícím hospitalizaci, zůstávají nízké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jednotkách případů denně v celé ČR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odnadpis 4">
            <a:extLst>
              <a:ext uri="{FF2B5EF4-FFF2-40B4-BE49-F238E27FC236}">
                <a16:creationId xmlns:a16="http://schemas.microsoft.com/office/drawing/2014/main" id="{8B62E79B-CD80-47C0-8863-8E66984EC330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lášení poskytovatelů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32282690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10410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1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8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.2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6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.0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7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1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3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6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.8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7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3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1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.72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78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659894"/>
            <a:ext cx="366184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l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báz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PS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den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438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7 547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ien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102 575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k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Tyt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js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n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Z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ho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álníh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SIN 1724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Z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edisk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yt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81,8%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85692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3624" y="3303770"/>
          <a:ext cx="10232136" cy="3302770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5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7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9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6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.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.3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7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2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6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8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8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0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9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5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3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72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8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10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3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1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0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054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41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795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3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5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9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9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05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4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795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8. 1. 2022</a:t>
            </a:r>
          </a:p>
        </p:txBody>
      </p:sp>
    </p:spTree>
    <p:extLst>
      <p:ext uri="{BB962C8B-B14F-4D97-AF65-F5344CB8AC3E}">
        <p14:creationId xmlns:p14="http://schemas.microsoft.com/office/powerpoint/2010/main" val="14254027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3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540765" y="2971287"/>
          <a:ext cx="10115198" cy="32536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9%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03 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%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9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9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4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7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8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0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3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4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1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39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7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79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0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167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4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8. 1. 2022</a:t>
            </a:r>
          </a:p>
        </p:txBody>
      </p:sp>
    </p:spTree>
    <p:extLst>
      <p:ext uri="{BB962C8B-B14F-4D97-AF65-F5344CB8AC3E}">
        <p14:creationId xmlns:p14="http://schemas.microsoft.com/office/powerpoint/2010/main" val="22578832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8. 1. 2022</a:t>
            </a:r>
          </a:p>
        </p:txBody>
      </p:sp>
    </p:spTree>
    <p:extLst>
      <p:ext uri="{BB962C8B-B14F-4D97-AF65-F5344CB8AC3E}">
        <p14:creationId xmlns:p14="http://schemas.microsoft.com/office/powerpoint/2010/main" val="18724663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8. 1. 2022</a:t>
            </a:r>
          </a:p>
        </p:txBody>
      </p:sp>
    </p:spTree>
    <p:extLst>
      <p:ext uri="{BB962C8B-B14F-4D97-AF65-F5344CB8AC3E}">
        <p14:creationId xmlns:p14="http://schemas.microsoft.com/office/powerpoint/2010/main" val="2327011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8023368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4598818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4928516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7121615"/>
              </p:ext>
            </p:extLst>
          </p:nvPr>
        </p:nvGraphicFramePr>
        <p:xfrm>
          <a:off x="136358" y="988368"/>
          <a:ext cx="11724449" cy="56418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6281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29652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</a:tblGrid>
              <a:tr h="602838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k 28. 1. 22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283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6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6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342057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75197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9684060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7" name="Tabulka 3">
            <a:extLst>
              <a:ext uri="{FF2B5EF4-FFF2-40B4-BE49-F238E27FC236}">
                <a16:creationId xmlns:a16="http://schemas.microsoft.com/office/drawing/2014/main" id="{EA3F3409-560C-4B9F-89F0-F5AF9408008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180970"/>
              </p:ext>
            </p:extLst>
          </p:nvPr>
        </p:nvGraphicFramePr>
        <p:xfrm>
          <a:off x="136358" y="988368"/>
          <a:ext cx="11895238" cy="56339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3802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34454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k 28. 1. 22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30783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7229738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0202405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66699" y="934450"/>
            <a:ext cx="11327021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Šlo ale o počty, které byly velmi významně nižší ve srovnání např. s jarem 2021. KHS identifikovaly za říjen 15 ohnisek v sociálních zařízeních (celkem 182 nakažených osob) a za listopad 36 ohnisek s celkem 645 dosud zařazenými nakaženými osobami. Za prosinec 2021 bylo z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e strany KHS identifikováno a nahlášeno 42 událostí v sociálních službách s celkem 592 nakaženými osobami. </a:t>
            </a:r>
          </a:p>
          <a:p>
            <a:pPr algn="ctr">
              <a:defRPr/>
            </a:pP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Za leden 2022 je dosud hlášeno 29 událostí se 360 nakaženými (stav k 29. 1.) </a:t>
            </a:r>
          </a:p>
          <a:p>
            <a:pPr algn="ctr">
              <a:defRPr/>
            </a:pPr>
            <a:endParaRPr lang="cs-CZ" sz="2400" b="1" dirty="0">
              <a:solidFill>
                <a:srgbClr val="C00000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Ve srovnání s jarem 2021 jde stále o nízké počty a při dělení na kraje pouze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o jednotkové výskyty nákazy. </a:t>
            </a:r>
            <a:r>
              <a:rPr lang="cs-CZ" sz="2400" b="1" dirty="0">
                <a:solidFill>
                  <a:srgbClr val="0000FF"/>
                </a:solidFill>
                <a:latin typeface="Calibri" panose="020F0502020204030204"/>
              </a:rPr>
              <a:t>Tato data ukazují, že situace v sociálních zařízeních je stále pod kontrolou, velký ochranný efekt hraje vakcinace a také samozřejmě počet klientů, kteří prodělali nákazu v uplynulém období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23343" y="5994400"/>
            <a:ext cx="1319062" cy="67267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odnadpis 4">
            <a:extLst>
              <a:ext uri="{FF2B5EF4-FFF2-40B4-BE49-F238E27FC236}">
                <a16:creationId xmlns:a16="http://schemas.microsoft.com/office/drawing/2014/main" id="{FD2CE6B4-35B6-4010-B3CB-EE34C0274624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400" b="1" dirty="0"/>
              <a:t>Výstupy šetření KHS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35C0E58D-64A8-40B8-864D-2BDBB3E985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2662908"/>
              </p:ext>
            </p:extLst>
          </p:nvPr>
        </p:nvGraphicFramePr>
        <p:xfrm>
          <a:off x="1003516" y="5723959"/>
          <a:ext cx="10940824" cy="731520"/>
        </p:xfrm>
        <a:graphic>
          <a:graphicData uri="http://schemas.openxmlformats.org/drawingml/2006/table">
            <a:tbl>
              <a:tblPr/>
              <a:tblGrid>
                <a:gridCol w="118922">
                  <a:extLst>
                    <a:ext uri="{9D8B030D-6E8A-4147-A177-3AD203B41FA5}">
                      <a16:colId xmlns:a16="http://schemas.microsoft.com/office/drawing/2014/main" val="786390760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344938314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798910844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588209650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965957905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589600998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568969253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611992927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270475885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044058602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381749156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601670241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4088446670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325100027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238042695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174990124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061436559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080577232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580564830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755971965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595758373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521710335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162327204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561921952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744980879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577087293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316590451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021822668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251291787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389981626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740673921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081187364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079074943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34304276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260960236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840525965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221642544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889385311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066460764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789600390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4179536524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791575118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741767141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4094529245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600903391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652252399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643926144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647593536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219553885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011821335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940991234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29198205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206067481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545117898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858023601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990664244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617247460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856698693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652012147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4094535259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907249576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074937835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450072887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112720532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549840753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8204028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610132917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96571838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703163923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111882096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342730707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897224886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787890635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706459173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318442119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258959237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981341183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4036702007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457778499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968135430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71736020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477477514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392357715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724770674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3642537067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4082875722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094931231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4257501410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1595757229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203886041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2019374282"/>
                    </a:ext>
                  </a:extLst>
                </a:gridCol>
                <a:gridCol w="118922">
                  <a:extLst>
                    <a:ext uri="{9D8B030D-6E8A-4147-A177-3AD203B41FA5}">
                      <a16:colId xmlns:a16="http://schemas.microsoft.com/office/drawing/2014/main" val="63148444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05173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1852389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8944955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9. 1. 2022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81D70FC-F528-494D-8C3A-D477F854D763}"/>
              </a:ext>
            </a:extLst>
          </p:cNvPr>
          <p:cNvSpPr/>
          <p:nvPr/>
        </p:nvSpPr>
        <p:spPr>
          <a:xfrm>
            <a:off x="10842357" y="3390334"/>
            <a:ext cx="11544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předběžné údaje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E67781F-87FB-42C9-899D-4460B89C4830}"/>
              </a:ext>
            </a:extLst>
          </p:cNvPr>
          <p:cNvSpPr/>
          <p:nvPr/>
        </p:nvSpPr>
        <p:spPr>
          <a:xfrm>
            <a:off x="11753266" y="4716302"/>
            <a:ext cx="2487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802625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898717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832104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3ABEEEF4-C842-4C33-AA09-54AF627FF8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0447106"/>
              </p:ext>
            </p:extLst>
          </p:nvPr>
        </p:nvGraphicFramePr>
        <p:xfrm>
          <a:off x="7428782" y="5737703"/>
          <a:ext cx="4564854" cy="731520"/>
        </p:xfrm>
        <a:graphic>
          <a:graphicData uri="http://schemas.openxmlformats.org/drawingml/2006/table">
            <a:tbl>
              <a:tblPr/>
              <a:tblGrid>
                <a:gridCol w="217374">
                  <a:extLst>
                    <a:ext uri="{9D8B030D-6E8A-4147-A177-3AD203B41FA5}">
                      <a16:colId xmlns:a16="http://schemas.microsoft.com/office/drawing/2014/main" val="272172595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081446444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49259005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35460787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30451825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25631811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140287787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7608273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275555644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43313591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884381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7160409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96018878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990838640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54785735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4164298354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573834863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912233694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977249551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181424577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371884795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259669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1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7824" marR="7824" marT="7824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9470056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165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9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2236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56719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01/2022 k 29. 1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586584" y="5534255"/>
            <a:ext cx="56137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29. 1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437830"/>
              </p:ext>
            </p:extLst>
          </p:nvPr>
        </p:nvGraphicFramePr>
        <p:xfrm>
          <a:off x="47625" y="989354"/>
          <a:ext cx="6437722" cy="5416275"/>
        </p:xfrm>
        <a:graphic>
          <a:graphicData uri="http://schemas.openxmlformats.org/drawingml/2006/table">
            <a:tbl>
              <a:tblPr/>
              <a:tblGrid>
                <a:gridCol w="546434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  <a:gridCol w="453176">
                  <a:extLst>
                    <a:ext uri="{9D8B030D-6E8A-4147-A177-3AD203B41FA5}">
                      <a16:colId xmlns:a16="http://schemas.microsoft.com/office/drawing/2014/main" val="459635882"/>
                    </a:ext>
                  </a:extLst>
                </a:gridCol>
              </a:tblGrid>
              <a:tr h="66499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29. 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63ED1944-9A78-4036-86FC-55DE3FA04D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4608061"/>
              </p:ext>
            </p:extLst>
          </p:nvPr>
        </p:nvGraphicFramePr>
        <p:xfrm>
          <a:off x="7428782" y="1219781"/>
          <a:ext cx="4564854" cy="517639"/>
        </p:xfrm>
        <a:graphic>
          <a:graphicData uri="http://schemas.openxmlformats.org/drawingml/2006/table">
            <a:tbl>
              <a:tblPr/>
              <a:tblGrid>
                <a:gridCol w="217374">
                  <a:extLst>
                    <a:ext uri="{9D8B030D-6E8A-4147-A177-3AD203B41FA5}">
                      <a16:colId xmlns:a16="http://schemas.microsoft.com/office/drawing/2014/main" val="375136833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56671002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056843661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878325879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048185369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62570430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355734836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77519445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60072838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7467571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660353175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84330264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4244262610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62427149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7919695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53359244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2913378302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580263538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674684720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1919923383"/>
                    </a:ext>
                  </a:extLst>
                </a:gridCol>
                <a:gridCol w="217374">
                  <a:extLst>
                    <a:ext uri="{9D8B030D-6E8A-4147-A177-3AD203B41FA5}">
                      <a16:colId xmlns:a16="http://schemas.microsoft.com/office/drawing/2014/main" val="3666594402"/>
                    </a:ext>
                  </a:extLst>
                </a:gridCol>
              </a:tblGrid>
              <a:tr h="10028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2715766"/>
                  </a:ext>
                </a:extLst>
              </a:tr>
              <a:tr h="41735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28734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892388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6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02025"/>
              </p:ext>
            </p:extLst>
          </p:nvPr>
        </p:nvGraphicFramePr>
        <p:xfrm>
          <a:off x="1372685" y="1009673"/>
          <a:ext cx="9684753" cy="523877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60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478578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480291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81006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84974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051097BD-73E6-4BA2-91A9-E329A719FF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0584393"/>
              </p:ext>
            </p:extLst>
          </p:nvPr>
        </p:nvGraphicFramePr>
        <p:xfrm>
          <a:off x="8685801" y="987423"/>
          <a:ext cx="886823" cy="5460980"/>
        </p:xfrm>
        <a:graphic>
          <a:graphicData uri="http://schemas.openxmlformats.org/drawingml/2006/table">
            <a:tbl>
              <a:tblPr/>
              <a:tblGrid>
                <a:gridCol w="886823">
                  <a:extLst>
                    <a:ext uri="{9D8B030D-6E8A-4147-A177-3AD203B41FA5}">
                      <a16:colId xmlns:a16="http://schemas.microsoft.com/office/drawing/2014/main" val="111910632"/>
                    </a:ext>
                  </a:extLst>
                </a:gridCol>
              </a:tblGrid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95311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43180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40817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34243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5117854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8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5086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92137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55385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580923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04563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209816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82135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9001152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878125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029321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24765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28311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38772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44977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42054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176111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021009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7359577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6436575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070981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375820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677646"/>
                  </a:ext>
                </a:extLst>
              </a:tr>
              <a:tr h="195035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17510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9. 1. 2022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8020381"/>
              </p:ext>
            </p:extLst>
          </p:nvPr>
        </p:nvGraphicFramePr>
        <p:xfrm>
          <a:off x="1093233" y="762000"/>
          <a:ext cx="8958646" cy="5686417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2591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0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7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0 8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9501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A7572F1-A3A9-4778-AC0A-1851ED588C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8161858"/>
              </p:ext>
            </p:extLst>
          </p:nvPr>
        </p:nvGraphicFramePr>
        <p:xfrm>
          <a:off x="8677275" y="1159939"/>
          <a:ext cx="933450" cy="5288490"/>
        </p:xfrm>
        <a:graphic>
          <a:graphicData uri="http://schemas.openxmlformats.org/drawingml/2006/table">
            <a:tbl>
              <a:tblPr/>
              <a:tblGrid>
                <a:gridCol w="933450">
                  <a:extLst>
                    <a:ext uri="{9D8B030D-6E8A-4147-A177-3AD203B41FA5}">
                      <a16:colId xmlns:a16="http://schemas.microsoft.com/office/drawing/2014/main" val="708023879"/>
                    </a:ext>
                  </a:extLst>
                </a:gridCol>
              </a:tblGrid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019937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596300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985743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41217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509049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A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814401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0564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071538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021637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515510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508955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767581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07953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68211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4421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72762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9682968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773624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4381404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833695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0684313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133861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165472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4007259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9830205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0595847"/>
                  </a:ext>
                </a:extLst>
              </a:tr>
              <a:tr h="195870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988379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9. 1. 2022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4621307"/>
              </p:ext>
            </p:extLst>
          </p:nvPr>
        </p:nvGraphicFramePr>
        <p:xfrm>
          <a:off x="1104900" y="718064"/>
          <a:ext cx="8958646" cy="5730352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4110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477 (3 91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29 (27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607 (2 67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27 (22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 163 (30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81 (2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84 (73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 (1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7 (1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53 (11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46 (1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4 (2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1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58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249595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347409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6152088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71EB03AE-4054-44F7-9254-79404469E2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827552"/>
              </p:ext>
            </p:extLst>
          </p:nvPr>
        </p:nvGraphicFramePr>
        <p:xfrm>
          <a:off x="7362824" y="5543019"/>
          <a:ext cx="4554645" cy="874168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4475726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01564370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3793600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67328475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886359018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569438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178867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2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791593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4927063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424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F8A806D-274A-4565-9EAB-7CACCDCB24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7454342"/>
              </p:ext>
            </p:extLst>
          </p:nvPr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6128742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877532953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599932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450528173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364439273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4069332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1326341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7030822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7380549"/>
              </p:ext>
            </p:extLst>
          </p:nvPr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6876962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2 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9. 1. 2022</a:t>
            </a:r>
          </a:p>
        </p:txBody>
      </p:sp>
    </p:spTree>
    <p:extLst>
      <p:ext uri="{BB962C8B-B14F-4D97-AF65-F5344CB8AC3E}">
        <p14:creationId xmlns:p14="http://schemas.microsoft.com/office/powerpoint/2010/main" val="1237619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7. 11. – 14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6081177"/>
              </p:ext>
            </p:extLst>
          </p:nvPr>
        </p:nvGraphicFramePr>
        <p:xfrm>
          <a:off x="1372685" y="1009672"/>
          <a:ext cx="9684753" cy="550315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949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330371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4759251"/>
                  </a:ext>
                </a:extLst>
              </a:tr>
              <a:tr h="3572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9948375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71292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977405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267875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286697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283737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é sen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703661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140054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nna Český Br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7622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mácí péče Samopš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428858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Domov Barevný svět, Petř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390345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01889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868301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ROŽNOV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1729306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 DPS Záku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Pampeliš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polek Klidné stáří, Březová 372/83, Děčín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654</TotalTime>
  <Words>15276</Words>
  <Application>Microsoft Office PowerPoint</Application>
  <PresentationFormat>Širokoúhlá obrazovka</PresentationFormat>
  <Paragraphs>6556</Paragraphs>
  <Slides>59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9</vt:i4>
      </vt:variant>
    </vt:vector>
  </HeadingPairs>
  <TitlesOfParts>
    <vt:vector size="63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ušek Ladislav prof. RNDr. Ph.D.</cp:lastModifiedBy>
  <cp:revision>617</cp:revision>
  <dcterms:created xsi:type="dcterms:W3CDTF">2020-11-14T10:09:00Z</dcterms:created>
  <dcterms:modified xsi:type="dcterms:W3CDTF">2022-01-30T17:00:02Z</dcterms:modified>
</cp:coreProperties>
</file>